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4"/>
  </p:notesMasterIdLst>
  <p:sldIdLst>
    <p:sldId id="259" r:id="rId2"/>
    <p:sldId id="2147480370" r:id="rId3"/>
    <p:sldId id="2147473705" r:id="rId4"/>
    <p:sldId id="2147481343" r:id="rId5"/>
    <p:sldId id="2147481345" r:id="rId6"/>
    <p:sldId id="2147481346" r:id="rId7"/>
    <p:sldId id="2147481347" r:id="rId8"/>
    <p:sldId id="2147481348" r:id="rId9"/>
    <p:sldId id="2147481350" r:id="rId10"/>
    <p:sldId id="2147480373" r:id="rId11"/>
    <p:sldId id="2147480374" r:id="rId12"/>
    <p:sldId id="2147481325" r:id="rId13"/>
    <p:sldId id="2147481322" r:id="rId14"/>
    <p:sldId id="2147481326" r:id="rId15"/>
    <p:sldId id="2147481327" r:id="rId16"/>
    <p:sldId id="2147481328" r:id="rId17"/>
    <p:sldId id="2147481340" r:id="rId18"/>
    <p:sldId id="2147481323" r:id="rId19"/>
    <p:sldId id="2147481341" r:id="rId20"/>
    <p:sldId id="2147481342" r:id="rId21"/>
    <p:sldId id="2147481344" r:id="rId22"/>
    <p:sldId id="2147481329" r:id="rId23"/>
    <p:sldId id="2147481333" r:id="rId24"/>
    <p:sldId id="2147481334" r:id="rId25"/>
    <p:sldId id="2147481336" r:id="rId26"/>
    <p:sldId id="2147481337" r:id="rId27"/>
    <p:sldId id="2147481338" r:id="rId28"/>
    <p:sldId id="2147480375" r:id="rId29"/>
    <p:sldId id="2147481349" r:id="rId30"/>
    <p:sldId id="2147480368" r:id="rId31"/>
    <p:sldId id="2147480364" r:id="rId32"/>
    <p:sldId id="505" r:id="rId33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17A14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08FB837D-C827-4EFA-A057-4D05807E0F7C}" styleName="Themed Style 1 – Accent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653"/>
    <p:restoredTop sz="96197"/>
  </p:normalViewPr>
  <p:slideViewPr>
    <p:cSldViewPr snapToGrid="0">
      <p:cViewPr varScale="1">
        <p:scale>
          <a:sx n="67" d="100"/>
          <a:sy n="67" d="100"/>
        </p:scale>
        <p:origin x="616" y="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Relationship Id="rId8" Type="http://schemas.openxmlformats.org/officeDocument/2006/relationships/slide" Target="slides/slide7.xml"/><Relationship Id="rId3" Type="http://schemas.openxmlformats.org/officeDocument/2006/relationships/slide" Target="slides/slide2.xml"/></Relationships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svg"/><Relationship Id="rId1" Type="http://schemas.openxmlformats.org/officeDocument/2006/relationships/image" Target="../media/image35.png"/><Relationship Id="rId4" Type="http://schemas.openxmlformats.org/officeDocument/2006/relationships/image" Target="../media/image38.svg"/></Relationships>
</file>

<file path=ppt/diagrams/_rels/drawing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36.svg"/><Relationship Id="rId1" Type="http://schemas.openxmlformats.org/officeDocument/2006/relationships/image" Target="../media/image35.png"/><Relationship Id="rId4" Type="http://schemas.openxmlformats.org/officeDocument/2006/relationships/image" Target="../media/image38.sv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B37DB9C-6C06-4C62-86C1-3373067B1BD2}" type="doc">
      <dgm:prSet loTypeId="urn:microsoft.com/office/officeart/2018/2/layout/IconLabelList" loCatId="icon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3D0A3354-66EF-4BE3-8FB2-AA056B314D65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Open 269 sites</a:t>
          </a:r>
        </a:p>
      </dgm:t>
    </dgm:pt>
    <dgm:pt modelId="{FC855813-DD9C-4E28-96FD-F412E25669D5}" type="parTrans" cxnId="{5CA69581-2778-4AF2-8834-E5EAFC8A880F}">
      <dgm:prSet/>
      <dgm:spPr/>
      <dgm:t>
        <a:bodyPr/>
        <a:lstStyle/>
        <a:p>
          <a:endParaRPr lang="en-US"/>
        </a:p>
      </dgm:t>
    </dgm:pt>
    <dgm:pt modelId="{BD09DAA1-1AA6-4E8F-BAC4-7CD96772F156}" type="sibTrans" cxnId="{5CA69581-2778-4AF2-8834-E5EAFC8A880F}">
      <dgm:prSet/>
      <dgm:spPr/>
      <dgm:t>
        <a:bodyPr/>
        <a:lstStyle/>
        <a:p>
          <a:endParaRPr lang="en-US"/>
        </a:p>
      </dgm:t>
    </dgm:pt>
    <dgm:pt modelId="{AAF39249-6AFC-4442-855F-B0329FD5E1C2}">
      <dgm:prSet/>
      <dgm:spPr/>
      <dgm:t>
        <a:bodyPr/>
        <a:lstStyle/>
        <a:p>
          <a:pPr>
            <a:lnSpc>
              <a:spcPct val="100000"/>
            </a:lnSpc>
          </a:pPr>
          <a:r>
            <a:rPr lang="en-US"/>
            <a:t>Leverage UK structural advantages to bring patients to our 14 sites</a:t>
          </a:r>
        </a:p>
      </dgm:t>
    </dgm:pt>
    <dgm:pt modelId="{DFA60011-B972-4B6D-99DE-5CAC0DB0CEB4}" type="parTrans" cxnId="{28B8A848-99F7-4FF1-83AA-E036B4E3C0A8}">
      <dgm:prSet/>
      <dgm:spPr/>
      <dgm:t>
        <a:bodyPr/>
        <a:lstStyle/>
        <a:p>
          <a:endParaRPr lang="en-US"/>
        </a:p>
      </dgm:t>
    </dgm:pt>
    <dgm:pt modelId="{A6700EA4-C3FD-4440-9A06-AC30B8845B62}" type="sibTrans" cxnId="{28B8A848-99F7-4FF1-83AA-E036B4E3C0A8}">
      <dgm:prSet/>
      <dgm:spPr/>
      <dgm:t>
        <a:bodyPr/>
        <a:lstStyle/>
        <a:p>
          <a:endParaRPr lang="en-US"/>
        </a:p>
      </dgm:t>
    </dgm:pt>
    <dgm:pt modelId="{9FF798AB-15CF-417C-9DBE-3F13000EE3D7}" type="pres">
      <dgm:prSet presAssocID="{AB37DB9C-6C06-4C62-86C1-3373067B1BD2}" presName="root" presStyleCnt="0">
        <dgm:presLayoutVars>
          <dgm:dir/>
          <dgm:resizeHandles val="exact"/>
        </dgm:presLayoutVars>
      </dgm:prSet>
      <dgm:spPr/>
    </dgm:pt>
    <dgm:pt modelId="{CD726827-3928-44A4-A995-4331D7F34FFD}" type="pres">
      <dgm:prSet presAssocID="{3D0A3354-66EF-4BE3-8FB2-AA056B314D65}" presName="compNode" presStyleCnt="0"/>
      <dgm:spPr/>
    </dgm:pt>
    <dgm:pt modelId="{8CD34815-319D-49DF-A7D5-14C79184C6AF}" type="pres">
      <dgm:prSet presAssocID="{3D0A3354-66EF-4BE3-8FB2-AA056B314D65}" presName="iconRect" presStyleLbl="node1" presStyleIdx="0" presStyleCnt="2"/>
      <dgm:spPr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Marker"/>
        </a:ext>
      </dgm:extLst>
    </dgm:pt>
    <dgm:pt modelId="{7D230757-D235-4E81-BAA1-EC78DC1FEC2E}" type="pres">
      <dgm:prSet presAssocID="{3D0A3354-66EF-4BE3-8FB2-AA056B314D65}" presName="spaceRect" presStyleCnt="0"/>
      <dgm:spPr/>
    </dgm:pt>
    <dgm:pt modelId="{F7DAFA2C-C71F-4E91-99CD-E307CEECDF3E}" type="pres">
      <dgm:prSet presAssocID="{3D0A3354-66EF-4BE3-8FB2-AA056B314D65}" presName="textRect" presStyleLbl="revTx" presStyleIdx="0" presStyleCnt="2">
        <dgm:presLayoutVars>
          <dgm:chMax val="1"/>
          <dgm:chPref val="1"/>
        </dgm:presLayoutVars>
      </dgm:prSet>
      <dgm:spPr/>
    </dgm:pt>
    <dgm:pt modelId="{279477C3-BDFF-45CA-B429-7AAA161D4343}" type="pres">
      <dgm:prSet presAssocID="{BD09DAA1-1AA6-4E8F-BAC4-7CD96772F156}" presName="sibTrans" presStyleCnt="0"/>
      <dgm:spPr/>
    </dgm:pt>
    <dgm:pt modelId="{4E8299B2-7D93-4710-9C14-9AFF58DC26B3}" type="pres">
      <dgm:prSet presAssocID="{AAF39249-6AFC-4442-855F-B0329FD5E1C2}" presName="compNode" presStyleCnt="0"/>
      <dgm:spPr/>
    </dgm:pt>
    <dgm:pt modelId="{A14166CF-9F49-4218-A17F-BFEE5DF0F2F9}" type="pres">
      <dgm:prSet presAssocID="{AAF39249-6AFC-4442-855F-B0329FD5E1C2}" presName="iconRect" presStyleLbl="node1" presStyleIdx="1" presStyleCnt="2"/>
      <dgm:spPr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City"/>
        </a:ext>
      </dgm:extLst>
    </dgm:pt>
    <dgm:pt modelId="{6D9E75AE-806C-40C7-B7C5-08FDAD32DAB4}" type="pres">
      <dgm:prSet presAssocID="{AAF39249-6AFC-4442-855F-B0329FD5E1C2}" presName="spaceRect" presStyleCnt="0"/>
      <dgm:spPr/>
    </dgm:pt>
    <dgm:pt modelId="{98F40494-C7BB-47B4-A1B6-087F27B227F7}" type="pres">
      <dgm:prSet presAssocID="{AAF39249-6AFC-4442-855F-B0329FD5E1C2}" presName="textRect" presStyleLbl="revTx" presStyleIdx="1" presStyleCnt="2">
        <dgm:presLayoutVars>
          <dgm:chMax val="1"/>
          <dgm:chPref val="1"/>
        </dgm:presLayoutVars>
      </dgm:prSet>
      <dgm:spPr/>
    </dgm:pt>
  </dgm:ptLst>
  <dgm:cxnLst>
    <dgm:cxn modelId="{E582E105-0D2B-4B86-8170-8986FF0DA28C}" type="presOf" srcId="{AAF39249-6AFC-4442-855F-B0329FD5E1C2}" destId="{98F40494-C7BB-47B4-A1B6-087F27B227F7}" srcOrd="0" destOrd="0" presId="urn:microsoft.com/office/officeart/2018/2/layout/IconLabelList"/>
    <dgm:cxn modelId="{28B8A848-99F7-4FF1-83AA-E036B4E3C0A8}" srcId="{AB37DB9C-6C06-4C62-86C1-3373067B1BD2}" destId="{AAF39249-6AFC-4442-855F-B0329FD5E1C2}" srcOrd="1" destOrd="0" parTransId="{DFA60011-B972-4B6D-99DE-5CAC0DB0CEB4}" sibTransId="{A6700EA4-C3FD-4440-9A06-AC30B8845B62}"/>
    <dgm:cxn modelId="{5CA69581-2778-4AF2-8834-E5EAFC8A880F}" srcId="{AB37DB9C-6C06-4C62-86C1-3373067B1BD2}" destId="{3D0A3354-66EF-4BE3-8FB2-AA056B314D65}" srcOrd="0" destOrd="0" parTransId="{FC855813-DD9C-4E28-96FD-F412E25669D5}" sibTransId="{BD09DAA1-1AA6-4E8F-BAC4-7CD96772F156}"/>
    <dgm:cxn modelId="{EAEFFBF5-AACA-40B0-930B-DB022054F3DD}" type="presOf" srcId="{AB37DB9C-6C06-4C62-86C1-3373067B1BD2}" destId="{9FF798AB-15CF-417C-9DBE-3F13000EE3D7}" srcOrd="0" destOrd="0" presId="urn:microsoft.com/office/officeart/2018/2/layout/IconLabelList"/>
    <dgm:cxn modelId="{CBC0F6F6-52EB-4B4F-B849-C385F2A7E84F}" type="presOf" srcId="{3D0A3354-66EF-4BE3-8FB2-AA056B314D65}" destId="{F7DAFA2C-C71F-4E91-99CD-E307CEECDF3E}" srcOrd="0" destOrd="0" presId="urn:microsoft.com/office/officeart/2018/2/layout/IconLabelList"/>
    <dgm:cxn modelId="{F2051DA5-0520-4548-9ADE-7968284C3A7D}" type="presParOf" srcId="{9FF798AB-15CF-417C-9DBE-3F13000EE3D7}" destId="{CD726827-3928-44A4-A995-4331D7F34FFD}" srcOrd="0" destOrd="0" presId="urn:microsoft.com/office/officeart/2018/2/layout/IconLabelList"/>
    <dgm:cxn modelId="{274E0F8B-55E8-479A-A8D7-BB7D16C02A34}" type="presParOf" srcId="{CD726827-3928-44A4-A995-4331D7F34FFD}" destId="{8CD34815-319D-49DF-A7D5-14C79184C6AF}" srcOrd="0" destOrd="0" presId="urn:microsoft.com/office/officeart/2018/2/layout/IconLabelList"/>
    <dgm:cxn modelId="{EE2D2C73-A8B2-4A4E-8F5C-D41278EE777E}" type="presParOf" srcId="{CD726827-3928-44A4-A995-4331D7F34FFD}" destId="{7D230757-D235-4E81-BAA1-EC78DC1FEC2E}" srcOrd="1" destOrd="0" presId="urn:microsoft.com/office/officeart/2018/2/layout/IconLabelList"/>
    <dgm:cxn modelId="{0B642026-AA1E-4D15-A96D-F98D23AF41E1}" type="presParOf" srcId="{CD726827-3928-44A4-A995-4331D7F34FFD}" destId="{F7DAFA2C-C71F-4E91-99CD-E307CEECDF3E}" srcOrd="2" destOrd="0" presId="urn:microsoft.com/office/officeart/2018/2/layout/IconLabelList"/>
    <dgm:cxn modelId="{C369D7E2-DA6B-48FB-8258-FC333CC496FB}" type="presParOf" srcId="{9FF798AB-15CF-417C-9DBE-3F13000EE3D7}" destId="{279477C3-BDFF-45CA-B429-7AAA161D4343}" srcOrd="1" destOrd="0" presId="urn:microsoft.com/office/officeart/2018/2/layout/IconLabelList"/>
    <dgm:cxn modelId="{FF03ACA3-2661-4E98-B5B8-211598F318E8}" type="presParOf" srcId="{9FF798AB-15CF-417C-9DBE-3F13000EE3D7}" destId="{4E8299B2-7D93-4710-9C14-9AFF58DC26B3}" srcOrd="2" destOrd="0" presId="urn:microsoft.com/office/officeart/2018/2/layout/IconLabelList"/>
    <dgm:cxn modelId="{4666523F-6151-4C87-A57C-0C3C982C1E44}" type="presParOf" srcId="{4E8299B2-7D93-4710-9C14-9AFF58DC26B3}" destId="{A14166CF-9F49-4218-A17F-BFEE5DF0F2F9}" srcOrd="0" destOrd="0" presId="urn:microsoft.com/office/officeart/2018/2/layout/IconLabelList"/>
    <dgm:cxn modelId="{646554CF-09F0-4C5B-A50B-C51139B97FB9}" type="presParOf" srcId="{4E8299B2-7D93-4710-9C14-9AFF58DC26B3}" destId="{6D9E75AE-806C-40C7-B7C5-08FDAD32DAB4}" srcOrd="1" destOrd="0" presId="urn:microsoft.com/office/officeart/2018/2/layout/IconLabelList"/>
    <dgm:cxn modelId="{8FB17158-CF30-4992-B0BC-F89AC7A44DAA}" type="presParOf" srcId="{4E8299B2-7D93-4710-9C14-9AFF58DC26B3}" destId="{98F40494-C7BB-47B4-A1B6-087F27B227F7}" srcOrd="2" destOrd="0" presId="urn:microsoft.com/office/officeart/2018/2/layout/IconLabel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CD34815-319D-49DF-A7D5-14C79184C6AF}">
      <dsp:nvSpPr>
        <dsp:cNvPr id="0" name=""/>
        <dsp:cNvSpPr/>
      </dsp:nvSpPr>
      <dsp:spPr>
        <a:xfrm>
          <a:off x="1989893" y="628885"/>
          <a:ext cx="1944000" cy="1944000"/>
        </a:xfrm>
        <a:prstGeom prst="rect">
          <a:avLst/>
        </a:prstGeom>
        <a:blipFill>
          <a:blip xmlns:r="http://schemas.openxmlformats.org/officeDocument/2006/relationships" r:embed="rId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F7DAFA2C-C71F-4E91-99CD-E307CEECDF3E}">
      <dsp:nvSpPr>
        <dsp:cNvPr id="0" name=""/>
        <dsp:cNvSpPr/>
      </dsp:nvSpPr>
      <dsp:spPr>
        <a:xfrm>
          <a:off x="801893" y="3043044"/>
          <a:ext cx="432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0223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/>
            <a:t>Open 269 sites</a:t>
          </a:r>
        </a:p>
      </dsp:txBody>
      <dsp:txXfrm>
        <a:off x="801893" y="3043044"/>
        <a:ext cx="4320000" cy="720000"/>
      </dsp:txXfrm>
    </dsp:sp>
    <dsp:sp modelId="{A14166CF-9F49-4218-A17F-BFEE5DF0F2F9}">
      <dsp:nvSpPr>
        <dsp:cNvPr id="0" name=""/>
        <dsp:cNvSpPr/>
      </dsp:nvSpPr>
      <dsp:spPr>
        <a:xfrm>
          <a:off x="7065893" y="628885"/>
          <a:ext cx="1944000" cy="1944000"/>
        </a:xfrm>
        <a:prstGeom prst="rect">
          <a:avLst/>
        </a:prstGeom>
        <a:blipFill>
          <a:blip xmlns:r="http://schemas.openxmlformats.org/officeDocument/2006/relationships"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a:blip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98F40494-C7BB-47B4-A1B6-087F27B227F7}">
      <dsp:nvSpPr>
        <dsp:cNvPr id="0" name=""/>
        <dsp:cNvSpPr/>
      </dsp:nvSpPr>
      <dsp:spPr>
        <a:xfrm>
          <a:off x="5877893" y="3043044"/>
          <a:ext cx="4320000" cy="720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0" rIns="0" bIns="0" numCol="1" spcCol="1270" anchor="t" anchorCtr="0">
          <a:noAutofit/>
        </a:bodyPr>
        <a:lstStyle/>
        <a:p>
          <a:pPr marL="0" lvl="0" indent="0" algn="ctr" defTabSz="102235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300" kern="1200"/>
            <a:t>Leverage UK structural advantages to bring patients to our 14 sites</a:t>
          </a:r>
        </a:p>
      </dsp:txBody>
      <dsp:txXfrm>
        <a:off x="5877893" y="3043044"/>
        <a:ext cx="4320000" cy="720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LabelList">
  <dgm:title val="Icon Label List"/>
  <dgm:desc val="Use to show non-sequential or grouped chunks of information accompanied by a related visuals. Works best with icons or small pictures with short text ca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snake">
          <dgm:param type="grDir" val="tL"/>
          <dgm:param type="flowDir" val="row"/>
          <dgm:param type="contDir" val="sameDir"/>
          <dgm:param type="off" val="ctr"/>
          <dgm:param type="vertAlign" val="mid"/>
          <dgm:param type="horzAlign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  <dgm:param type="vertAlign" val="mid"/>
          <dgm:param type="horzAlign" val="ct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2">
        <dgm:constrLst>
          <dgm:constr type="h" for="ch" forName="compNode" refType="h" fact="0.4"/>
          <dgm:constr type="w" for="ch" forName="compNode" val="120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50"/>
          <dgm:constr type="h" for="des" forName="compNode" op="equ"/>
          <dgm:constr type="h" for="des" forName="textRect" op="equ"/>
        </dgm:constrLst>
      </dgm:if>
      <dgm:if name="Name5" axis="ch" ptType="node" func="cnt" op="lte" val="4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36"/>
          <dgm:constr type="h" for="des" forName="compNode" op="equ"/>
          <dgm:constr type="h" for="des" forName="textRect" op="equ"/>
        </dgm:constrLst>
      </dgm:if>
      <dgm:else name="Name6">
        <dgm:constrLst>
          <dgm:constr type="h" for="ch" forName="compNode" refType="h" fact="0.4"/>
          <dgm:constr type="w" for="ch" forName="compNode" refType="w"/>
          <dgm:constr type="w" for="ch" forName="sibTrans" refType="w" refFor="ch" refForName="compNode" fact="0.175"/>
          <dgm:constr type="sp" refType="w" refFor="ch" refForName="compNode" op="equ" fact="0.25"/>
          <dgm:constr type="primFontSz" for="des" ptType="node" op="equ" val="24"/>
          <dgm:constr type="h" for="des" forName="compNode" op="equ"/>
          <dgm:constr type="h" for="des" forName="textRect" op="equ"/>
        </dgm:constrLst>
      </dgm:else>
    </dgm:choose>
    <dgm:ruleLst>
      <dgm:rule type="w" for="ch" forName="compNode" val="50" fact="NaN" max="NaN"/>
    </dgm:ruleLst>
    <dgm:forEach name="Name7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onstrLst>
          <dgm:constr type="w" for="ch" forName="iconRect" refType="w" fact="0.45"/>
          <dgm:constr type="h" for="ch" forName="iconRect" refType="w" refFor="ch" refForName="iconRect"/>
          <dgm:constr type="ctrX" for="ch" forName="iconRect" refType="w" fact="0.5"/>
          <dgm:constr type="t" for="ch" forName="iconRect"/>
          <dgm:constr type="h" for="ch" forName="spaceRect" refType="h" fact="0.15"/>
          <dgm:constr type="w" for="ch" forName="spaceRect" refType="w"/>
          <dgm:constr type="l" for="ch" forName="spaceRect"/>
          <dgm:constr type="t" for="ch" forName="spaceRect" refType="b" refFor="ch" refForName="iconRect"/>
          <dgm:constr type="h" for="ch" forName="textRect" val="20"/>
          <dgm:constr type="w" for="ch" forName="textRect" refType="w"/>
          <dgm:constr type="l" for="ch" forName="textRect"/>
          <dgm:constr type="t" for="ch" forName="textRect" refType="b" refFor="ch" refForName="spaceRect"/>
        </dgm:constrLst>
        <dgm:ruleLst>
          <dgm:rule type="h" val="INF" fact="NaN" max="NaN"/>
        </dgm:ruleLst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textRect" styleLbl="revTx">
          <dgm:varLst>
            <dgm:chMax val="1"/>
            <dgm:chPref val="1"/>
          </dgm:varLst>
          <dgm:alg type="tx">
            <dgm:param type="txAnchorVert" val="t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/>
            <dgm:constr type="rMarg"/>
            <dgm:constr type="tMarg"/>
            <dgm:constr type="bMarg"/>
          </dgm:constrLst>
          <dgm:ruleLst>
            <dgm:rule type="primFontSz" val="11" fact="NaN" max="NaN"/>
            <dgm:rule type="h" val="INF" fact="NaN" max="NaN"/>
          </dgm:ruleLst>
        </dgm:layoutNode>
      </dgm:layoutNode>
      <dgm:forEach name="Name8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146D483-E900-5C4E-BCE0-C7C321C1F57D}" type="datetimeFigureOut">
              <a:rPr lang="en-US" smtClean="0"/>
              <a:t>2/19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15A4E87-9599-CD4A-8B6C-B29BF77B295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210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6F7ED7-BE05-2746-896D-5104B495F569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253341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8C410C5-47E1-01E9-47D4-D2196FEF404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>
            <a:extLst>
              <a:ext uri="{FF2B5EF4-FFF2-40B4-BE49-F238E27FC236}">
                <a16:creationId xmlns:a16="http://schemas.microsoft.com/office/drawing/2014/main" id="{E4AAC3EA-D7C6-9C4F-56FB-05FC0C82CDE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>
            <a:extLst>
              <a:ext uri="{FF2B5EF4-FFF2-40B4-BE49-F238E27FC236}">
                <a16:creationId xmlns:a16="http://schemas.microsoft.com/office/drawing/2014/main" id="{4F538FEB-9764-5701-14EE-F6A0780E923E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822B988-37F2-33D1-AFE8-33EEDDF20384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3AACDAA-046F-424D-9EE4-D47009499710}" type="slidenum">
              <a:rPr lang="en-GB" smtClean="0"/>
              <a:t>1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103914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96BED6E-1198-324D-839C-0CF1B13B57FB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85315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emf"/><Relationship Id="rId5" Type="http://schemas.openxmlformats.org/officeDocument/2006/relationships/image" Target="../media/image3.png"/><Relationship Id="rId4" Type="http://schemas.openxmlformats.org/officeDocument/2006/relationships/image" Target="../media/image2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3B9AD02-EC34-F53D-E2CB-9D80FC37B78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F8E1A81-737D-C7A6-66CC-D2603A6DDB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/>
              <a:t>Click to edit Master subtitle style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6BB36CF-B545-B300-C835-727832E98A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226E03-7C08-D447-8088-29A0E72A5554}" type="datetimeFigureOut">
              <a:rPr lang="en-US" smtClean="0"/>
              <a:t>2/1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DF0A795-0352-110F-034B-F2C628537CC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BBD06F5-22E2-5622-0535-55796462B0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358069-37E3-ED4E-A203-67995E824B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831223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F0DA037-4762-885E-31EB-2B78D42A57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0D05403B-BACE-917B-FABC-0F349722225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CCAB33F-756B-CFFE-ABC2-D4BB8300DC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226E03-7C08-D447-8088-29A0E72A5554}" type="datetimeFigureOut">
              <a:rPr lang="en-US" smtClean="0"/>
              <a:t>2/1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BAE3D2A-177A-585C-B977-C037B70D6B0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EDEFD51-144C-7898-5B5D-90E16B8E4F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358069-37E3-ED4E-A203-67995E824B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017562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04480C5-9B6C-ABCE-472F-A3012A2E3373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1552696D-93CF-B542-3458-B8700C789EB9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6E610F9-61D9-CC82-AD6D-1F52BAAECC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226E03-7C08-D447-8088-29A0E72A5554}" type="datetimeFigureOut">
              <a:rPr lang="en-US" smtClean="0"/>
              <a:t>2/1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4C14476-241D-D376-3246-D0D915FFF6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A93F503-DB8C-B834-EDAF-F93DA781C48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358069-37E3-ED4E-A203-67995E824B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71967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F5F65CC-AF6B-235B-C65C-3D2688F5F3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350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F5F65CC-AF6B-235B-C65C-3D2688F5F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5A4D08F-A95E-65AE-8F48-F1E5A5D9B0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edit title style</a:t>
            </a:r>
            <a:br>
              <a:rPr lang="en-US"/>
            </a:br>
            <a:r>
              <a:rPr lang="en-US"/>
              <a:t>two lines, Arial 20 pt.</a:t>
            </a:r>
            <a:endParaRPr lang="de-DE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868DF96-4335-75D0-8219-98C523538605}"/>
              </a:ext>
            </a:extLst>
          </p:cNvPr>
          <p:cNvSpPr>
            <a:spLocks noGrp="1"/>
          </p:cNvSpPr>
          <p:nvPr>
            <p:ph idx="1" hasCustomPrompt="1"/>
          </p:nvPr>
        </p:nvSpPr>
        <p:spPr/>
        <p:txBody>
          <a:bodyPr/>
          <a:lstStyle/>
          <a:p>
            <a:pPr lvl="0"/>
            <a:r>
              <a:rPr lang="en-US"/>
              <a:t>Topic section, Arial 14 pt.</a:t>
            </a:r>
          </a:p>
          <a:p>
            <a:pPr lvl="1"/>
            <a:r>
              <a:rPr lang="en-US"/>
              <a:t>Copy standard, Arial 12 pt. 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8DFB3C9-2FDE-F95B-686E-E6BEA183D5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2MAY2023       CRN West Midlands Cancer Management Team Meeting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30EF65C-54B6-8F20-62DA-D2341CC329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ioNTech-Templat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BA9EA1E-AF43-8336-4BAC-1394EC7363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FB0AF2-78ED-4B1E-B8C2-1E1D13111D37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2853974F-1C2E-DCCD-3E2E-AAC228CBD7D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5313" y="6167142"/>
            <a:ext cx="10999787" cy="276999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600" dirty="0" smtClean="0">
                <a:solidFill>
                  <a:schemeClr val="accent4"/>
                </a:solidFill>
              </a:defRPr>
            </a:lvl1pPr>
          </a:lstStyle>
          <a:p>
            <a:pPr lvl="0">
              <a:spcAft>
                <a:spcPts val="0"/>
              </a:spcAft>
            </a:pPr>
            <a:r>
              <a:rPr lang="de-DE"/>
              <a:t>Source, Arial 6 pt. </a:t>
            </a:r>
          </a:p>
        </p:txBody>
      </p:sp>
      <p:sp>
        <p:nvSpPr>
          <p:cNvPr id="11" name="Textplatzhalter 13">
            <a:extLst>
              <a:ext uri="{FF2B5EF4-FFF2-40B4-BE49-F238E27FC236}">
                <a16:creationId xmlns:a16="http://schemas.microsoft.com/office/drawing/2014/main" id="{A9037845-3AC6-0257-AB04-F71A9CB2D60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5313" y="195962"/>
            <a:ext cx="10999787" cy="138499"/>
          </a:xfrm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de-DE" sz="900" b="0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en-US"/>
            </a:lvl5pPr>
          </a:lstStyle>
          <a:p>
            <a:pPr lvl="0">
              <a:buFont typeface="Arial" panose="020B0604020202020204" pitchFamily="34" charset="0"/>
            </a:pPr>
            <a:r>
              <a:rPr lang="de-DE"/>
              <a:t>Header, </a:t>
            </a:r>
            <a:r>
              <a:rPr lang="de-DE" err="1"/>
              <a:t>Jungle</a:t>
            </a:r>
            <a:r>
              <a:rPr lang="de-DE"/>
              <a:t> Green, 9pt. 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AE944D5-BCB8-13CF-3F58-A36E7A418CC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5313" y="1193800"/>
            <a:ext cx="10999787" cy="215444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Subhead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829317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9F5F65CC-AF6B-235B-C65C-3D2688F5F3F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03503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9F5F65CC-AF6B-235B-C65C-3D2688F5F3F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C5A4D08F-A95E-65AE-8F48-F1E5A5D9B02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lick to edit title style</a:t>
            </a:r>
            <a:br>
              <a:rPr lang="en-US"/>
            </a:br>
            <a:r>
              <a:rPr lang="en-US"/>
              <a:t>two lines, Arial 20 pt.</a:t>
            </a:r>
            <a:endParaRPr lang="de-DE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18DFB3C9-2FDE-F95B-686E-E6BEA183D5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en-US"/>
              <a:t>12MAY2023       CRN West Midlands Cancer Management Team Meeting</a:t>
            </a:r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30EF65C-54B6-8F20-62DA-D2341CC329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BioNTech-Template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BA9EA1E-AF43-8336-4BAC-1394EC7363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FB0AF2-78ED-4B1E-B8C2-1E1D13111D37}" type="slidenum">
              <a:rPr lang="de-DE" smtClean="0"/>
              <a:t>‹#›</a:t>
            </a:fld>
            <a:endParaRPr lang="de-DE"/>
          </a:p>
        </p:txBody>
      </p:sp>
      <p:sp>
        <p:nvSpPr>
          <p:cNvPr id="10" name="Textplatzhalter 10">
            <a:extLst>
              <a:ext uri="{FF2B5EF4-FFF2-40B4-BE49-F238E27FC236}">
                <a16:creationId xmlns:a16="http://schemas.microsoft.com/office/drawing/2014/main" id="{2853974F-1C2E-DCCD-3E2E-AAC228CBD7D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95313" y="6167142"/>
            <a:ext cx="10999787" cy="276999"/>
          </a:xfrm>
        </p:spPr>
        <p:txBody>
          <a:bodyPr vert="horz" lIns="0" tIns="0" rIns="0" bIns="0" rtlCol="0" anchor="b">
            <a:noAutofit/>
          </a:bodyPr>
          <a:lstStyle>
            <a:lvl1pPr>
              <a:defRPr lang="de-DE" sz="600" dirty="0" smtClean="0">
                <a:solidFill>
                  <a:schemeClr val="accent4"/>
                </a:solidFill>
              </a:defRPr>
            </a:lvl1pPr>
          </a:lstStyle>
          <a:p>
            <a:pPr lvl="0">
              <a:spcAft>
                <a:spcPts val="0"/>
              </a:spcAft>
            </a:pPr>
            <a:r>
              <a:rPr lang="de-DE"/>
              <a:t>Source, Arial 6 pt. </a:t>
            </a:r>
          </a:p>
        </p:txBody>
      </p:sp>
      <p:sp>
        <p:nvSpPr>
          <p:cNvPr id="11" name="Textplatzhalter 13">
            <a:extLst>
              <a:ext uri="{FF2B5EF4-FFF2-40B4-BE49-F238E27FC236}">
                <a16:creationId xmlns:a16="http://schemas.microsoft.com/office/drawing/2014/main" id="{A9037845-3AC6-0257-AB04-F71A9CB2D60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95313" y="195962"/>
            <a:ext cx="10999787" cy="138499"/>
          </a:xfrm>
        </p:spPr>
        <p:txBody>
          <a:bodyPr vert="horz" lIns="0" tIns="0" rIns="0" bIns="0" rtlCol="0">
            <a:noAutofit/>
          </a:bodyPr>
          <a:lstStyle>
            <a:lvl1pPr>
              <a:spcAft>
                <a:spcPts val="0"/>
              </a:spcAft>
              <a:defRPr lang="de-DE" sz="900" b="0" smtClean="0">
                <a:solidFill>
                  <a:schemeClr val="accent1"/>
                </a:solidFill>
              </a:defRPr>
            </a:lvl1pPr>
            <a:lvl2pPr>
              <a:defRPr lang="de-DE" smtClean="0"/>
            </a:lvl2pPr>
            <a:lvl3pPr>
              <a:defRPr lang="de-DE" smtClean="0"/>
            </a:lvl3pPr>
            <a:lvl4pPr>
              <a:defRPr lang="de-DE" smtClean="0"/>
            </a:lvl4pPr>
            <a:lvl5pPr>
              <a:defRPr lang="en-US"/>
            </a:lvl5pPr>
          </a:lstStyle>
          <a:p>
            <a:pPr lvl="0">
              <a:buFont typeface="Arial" panose="020B0604020202020204" pitchFamily="34" charset="0"/>
            </a:pPr>
            <a:r>
              <a:rPr lang="de-DE"/>
              <a:t>Header, </a:t>
            </a:r>
            <a:r>
              <a:rPr lang="de-DE" err="1"/>
              <a:t>Jungle</a:t>
            </a:r>
            <a:r>
              <a:rPr lang="de-DE"/>
              <a:t> Green, 9pt. 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DAE944D5-BCB8-13CF-3F58-A36E7A418CC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95313" y="1193800"/>
            <a:ext cx="10999787" cy="215444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400">
                <a:solidFill>
                  <a:schemeClr val="accent1"/>
                </a:solidFill>
              </a:defRPr>
            </a:lvl1pPr>
          </a:lstStyle>
          <a:p>
            <a:pPr lvl="0"/>
            <a:r>
              <a:rPr lang="de-DE"/>
              <a:t>Subheadlin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368477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D. Green arrow two thir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F71D6E47-2B31-42BE-9F67-902FD3B10DD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388516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F71D6E47-2B31-42BE-9F67-902FD3B10DD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Freeform 18"/>
          <p:cNvSpPr/>
          <p:nvPr userDrawn="1"/>
        </p:nvSpPr>
        <p:spPr bwMode="white">
          <a:xfrm>
            <a:off x="0" y="0"/>
            <a:ext cx="8446239" cy="6858000"/>
          </a:xfrm>
          <a:custGeom>
            <a:avLst/>
            <a:gdLst>
              <a:gd name="connsiteX0" fmla="*/ 0 w 8446239"/>
              <a:gd name="connsiteY0" fmla="*/ 0 h 6858000"/>
              <a:gd name="connsiteX1" fmla="*/ 7645979 w 8446239"/>
              <a:gd name="connsiteY1" fmla="*/ 0 h 6858000"/>
              <a:gd name="connsiteX2" fmla="*/ 8446239 w 8446239"/>
              <a:gd name="connsiteY2" fmla="*/ 3429000 h 6858000"/>
              <a:gd name="connsiteX3" fmla="*/ 7645979 w 8446239"/>
              <a:gd name="connsiteY3" fmla="*/ 6858000 h 6858000"/>
              <a:gd name="connsiteX4" fmla="*/ 0 w 8446239"/>
              <a:gd name="connsiteY4" fmla="*/ 6858000 h 6858000"/>
              <a:gd name="connsiteX5" fmla="*/ 0 w 8446239"/>
              <a:gd name="connsiteY5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8446239" h="6858000">
                <a:moveTo>
                  <a:pt x="0" y="0"/>
                </a:moveTo>
                <a:lnTo>
                  <a:pt x="7645979" y="0"/>
                </a:lnTo>
                <a:lnTo>
                  <a:pt x="8446239" y="3429000"/>
                </a:lnTo>
                <a:lnTo>
                  <a:pt x="7645979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2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 algn="l">
              <a:lnSpc>
                <a:spcPct val="90000"/>
              </a:lnSpc>
              <a:spcAft>
                <a:spcPts val="1000"/>
              </a:spcAft>
            </a:pPr>
            <a:endParaRPr lang="en-US" sz="1200">
              <a:solidFill>
                <a:schemeClr val="bg1"/>
              </a:solidFill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19177" y="220132"/>
            <a:ext cx="6254496" cy="893571"/>
          </a:xfrm>
          <a:prstGeom prst="rect">
            <a:avLst/>
          </a:prstGeom>
        </p:spPr>
        <p:txBody>
          <a:bodyPr vert="horz" wrap="square" lIns="0" tIns="45720" rIns="0" bIns="45720" anchor="b" anchorCtr="0">
            <a:noAutofit/>
          </a:bodyPr>
          <a:lstStyle>
            <a:lvl1pPr marL="0" indent="0" algn="l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defRPr sz="2400" b="1" i="0" u="none" kern="1200" spc="0">
                <a:solidFill>
                  <a:srgbClr val="FFFFFF"/>
                </a:solidFill>
                <a:latin typeface="+mj-lt"/>
                <a:ea typeface="+mj-ea"/>
                <a:cs typeface="+mj-cs"/>
                <a:sym typeface="+mj-lt"/>
              </a:defRPr>
            </a:lvl1pPr>
          </a:lstStyle>
          <a:p>
            <a:pPr lvl="0"/>
            <a:r>
              <a:rPr lang="en-US"/>
              <a:t>Click to add title</a:t>
            </a:r>
          </a:p>
        </p:txBody>
      </p:sp>
      <p:sp>
        <p:nvSpPr>
          <p:cNvPr id="19" name="Copyright" hidden="1"/>
          <p:cNvSpPr txBox="1"/>
          <p:nvPr userDrawn="1"/>
        </p:nvSpPr>
        <p:spPr>
          <a:xfrm rot="16200000">
            <a:off x="9486900" y="3540600"/>
            <a:ext cx="5133975" cy="98745"/>
          </a:xfrm>
          <a:prstGeom prst="rect">
            <a:avLst/>
          </a:prstGeom>
          <a:noFill/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r>
              <a:rPr lang="en-US" sz="700">
                <a:solidFill>
                  <a:schemeClr val="bg1">
                    <a:lumMod val="50000"/>
                  </a:schemeClr>
                </a:solidFill>
                <a:latin typeface="+mn-lt"/>
                <a:ea typeface="+mn-ea"/>
                <a:cs typeface="+mn-cs"/>
                <a:sym typeface="+mn-lt"/>
              </a:rPr>
              <a:t>Copyright © 2023 by Boston Consulting Group. All rights reserved.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20000">
            <a:off x="6567628" y="3407803"/>
            <a:ext cx="2694666" cy="3456551"/>
          </a:xfrm>
          <a:custGeom>
            <a:avLst/>
            <a:gdLst>
              <a:gd name="connsiteX0" fmla="*/ 2068299 w 2694666"/>
              <a:gd name="connsiteY0" fmla="*/ 0 h 3456551"/>
              <a:gd name="connsiteX1" fmla="*/ 2694666 w 2694666"/>
              <a:gd name="connsiteY1" fmla="*/ 0 h 3456551"/>
              <a:gd name="connsiteX2" fmla="*/ 2694666 w 2694666"/>
              <a:gd name="connsiteY2" fmla="*/ 3456551 h 3456551"/>
              <a:gd name="connsiteX3" fmla="*/ 1434992 w 2694666"/>
              <a:gd name="connsiteY3" fmla="*/ 3456551 h 3456551"/>
              <a:gd name="connsiteX4" fmla="*/ 0 w 2694666"/>
              <a:gd name="connsiteY4" fmla="*/ 0 h 3456551"/>
              <a:gd name="connsiteX5" fmla="*/ 1825478 w 2694666"/>
              <a:gd name="connsiteY5" fmla="*/ 0 h 3456551"/>
              <a:gd name="connsiteX6" fmla="*/ 1138791 w 2694666"/>
              <a:gd name="connsiteY6" fmla="*/ 3456551 h 3456551"/>
              <a:gd name="connsiteX7" fmla="*/ 0 w 2694666"/>
              <a:gd name="connsiteY7" fmla="*/ 3456551 h 345655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94666" h="3456551">
                <a:moveTo>
                  <a:pt x="2068299" y="0"/>
                </a:moveTo>
                <a:lnTo>
                  <a:pt x="2694666" y="0"/>
                </a:lnTo>
                <a:lnTo>
                  <a:pt x="2694666" y="3456551"/>
                </a:lnTo>
                <a:lnTo>
                  <a:pt x="1434992" y="3456551"/>
                </a:lnTo>
                <a:close/>
                <a:moveTo>
                  <a:pt x="0" y="0"/>
                </a:moveTo>
                <a:lnTo>
                  <a:pt x="1825478" y="0"/>
                </a:lnTo>
                <a:lnTo>
                  <a:pt x="1138791" y="3456551"/>
                </a:lnTo>
                <a:lnTo>
                  <a:pt x="0" y="3456551"/>
                </a:lnTo>
                <a:close/>
              </a:path>
            </a:pathLst>
          </a:custGeom>
        </p:spPr>
      </p:pic>
      <p:pic>
        <p:nvPicPr>
          <p:cNvPr id="10" name="Immagine 4" descr="logo.eps">
            <a:extLst>
              <a:ext uri="{FF2B5EF4-FFF2-40B4-BE49-F238E27FC236}">
                <a16:creationId xmlns:a16="http://schemas.microsoft.com/office/drawing/2014/main" id="{8AF4A0D0-D95E-4909-86E7-8CE52C0730B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36200" y="6399872"/>
            <a:ext cx="1375832" cy="153319"/>
          </a:xfrm>
          <a:prstGeom prst="rect">
            <a:avLst/>
          </a:prstGeom>
          <a:solidFill>
            <a:scrgbClr r="0" g="0" b="0">
              <a:alpha val="0"/>
            </a:scrgbClr>
          </a:solidFill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2CD9F43B-EE36-4C2D-846F-F1CF9DE83FD0}"/>
              </a:ext>
            </a:extLst>
          </p:cNvPr>
          <p:cNvSpPr txBox="1"/>
          <p:nvPr userDrawn="1"/>
        </p:nvSpPr>
        <p:spPr>
          <a:xfrm>
            <a:off x="519545" y="6358468"/>
            <a:ext cx="394855" cy="276834"/>
          </a:xfrm>
          <a:prstGeom prst="rect">
            <a:avLst/>
          </a:prstGeom>
          <a:noFill/>
        </p:spPr>
        <p:txBody>
          <a:bodyPr vert="horz" wrap="square" lIns="91440" tIns="45720" rIns="91440" bIns="45720" rtlCol="0" anchor="t" anchorCtr="0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CF27A5-1A5B-48D3-A060-2758FFBB1ADD}" type="slidenum">
              <a:rPr lang="en-US" sz="800" b="0" i="0" u="none" kern="1200" spc="0" smtClean="0">
                <a:solidFill>
                  <a:schemeClr val="bg1"/>
                </a:solidFill>
                <a:latin typeface="Arial" panose="020B0604020202020204" pitchFamily="34" charset="0"/>
                <a:ea typeface="+mn-ea"/>
                <a:cs typeface="+mn-cs"/>
                <a:sym typeface="+mn-lt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sz="800" b="0" i="0" u="none" kern="1200" spc="0">
              <a:solidFill>
                <a:schemeClr val="bg1"/>
              </a:solidFill>
              <a:latin typeface="Arial" panose="020B0604020202020204" pitchFamily="34" charset="0"/>
              <a:ea typeface="+mn-ea"/>
              <a:cs typeface="+mn-cs"/>
              <a:sym typeface="+mn-lt"/>
            </a:endParaRPr>
          </a:p>
        </p:txBody>
      </p:sp>
      <p:sp>
        <p:nvSpPr>
          <p:cNvPr id="14" name="Rechteck 3">
            <a:extLst>
              <a:ext uri="{FF2B5EF4-FFF2-40B4-BE49-F238E27FC236}">
                <a16:creationId xmlns:a16="http://schemas.microsoft.com/office/drawing/2014/main" id="{CA4347C4-2E8B-496D-BC95-C183D82E2ADB}"/>
              </a:ext>
            </a:extLst>
          </p:cNvPr>
          <p:cNvSpPr/>
          <p:nvPr userDrawn="1"/>
        </p:nvSpPr>
        <p:spPr>
          <a:xfrm>
            <a:off x="515938" y="1077956"/>
            <a:ext cx="850900" cy="101600"/>
          </a:xfrm>
          <a:prstGeom prst="rect">
            <a:avLst/>
          </a:prstGeom>
          <a:solidFill>
            <a:srgbClr val="3C96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A382CB0-CB14-47E0-8850-BFD78CD9DF5B}"/>
              </a:ext>
            </a:extLst>
          </p:cNvPr>
          <p:cNvSpPr txBox="1"/>
          <p:nvPr userDrawn="1"/>
        </p:nvSpPr>
        <p:spPr>
          <a:xfrm>
            <a:off x="910165" y="6358468"/>
            <a:ext cx="1092200" cy="279400"/>
          </a:xfrm>
          <a:prstGeom prst="rect">
            <a:avLst/>
          </a:prstGeom>
          <a:noFill/>
          <a:ln w="9525" cap="rnd">
            <a:noFill/>
            <a:prstDash val="solid"/>
            <a:round/>
          </a:ln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800" b="0" i="1" u="none" kern="1200" spc="0">
                <a:solidFill>
                  <a:schemeClr val="bg1"/>
                </a:solidFill>
                <a:latin typeface="Arial" panose="020B0604020202020204" pitchFamily="34" charset="0"/>
              </a:rPr>
              <a:t>Confidential</a:t>
            </a:r>
          </a:p>
        </p:txBody>
      </p:sp>
    </p:spTree>
    <p:extLst>
      <p:ext uri="{BB962C8B-B14F-4D97-AF65-F5344CB8AC3E}">
        <p14:creationId xmlns:p14="http://schemas.microsoft.com/office/powerpoint/2010/main" val="166610256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5B78F0-A45C-E98F-A61C-9351A539A3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3D5203A-3AE4-1111-3056-73A807878E49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CDC3B87-00F8-139F-4B1C-9359599481A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226E03-7C08-D447-8088-29A0E72A5554}" type="datetimeFigureOut">
              <a:rPr lang="en-US" smtClean="0"/>
              <a:t>2/1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8905644-D0CB-7DAE-7D6B-8582578D5F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34A8B58-4D17-F348-B186-82C26EB043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358069-37E3-ED4E-A203-67995E824B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70812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1AB62F-C10E-721E-EE89-BBE227AF45F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41BE372-787F-5D2D-3F69-E9B2A2898F2F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82B21C66-6C20-01F1-57AE-C0ECA57BA9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226E03-7C08-D447-8088-29A0E72A5554}" type="datetimeFigureOut">
              <a:rPr lang="en-US" smtClean="0"/>
              <a:t>2/1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AFED4D1-13C3-21C1-6C7B-5E70C8F4087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A93E78B-004C-DB60-2CE0-393550DB20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358069-37E3-ED4E-A203-67995E824B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3876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0AC21A-F464-80E2-52A6-971A075D92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37CB4CA-7561-EF22-C9F9-E4CD2596FE9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0CFBCD8-F5A0-1C76-E5C2-E2B69BED1E5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8B64696-5881-1E53-37D5-B73D93E4414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226E03-7C08-D447-8088-29A0E72A5554}" type="datetimeFigureOut">
              <a:rPr lang="en-US" smtClean="0"/>
              <a:t>2/1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5F639B7-ABB8-E9C0-766B-C67B01612F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6D99749-B713-BF10-89E6-5B6E9F5EAF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358069-37E3-ED4E-A203-67995E824B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270669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FC3C1F-D1F0-2280-2ACE-7EC6994114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32AA24-D38B-3ECA-4217-37CB3F6F4D9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32BFE9D6-AA56-4583-EBB0-BAC4052D0A6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334644E-39CC-4C79-BE7A-AD91C3518936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C1CC3B90-BF43-8D79-EEE4-2C99356006BA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8D6F2B2D-DC7A-5382-28E8-3F9B2E0E1F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226E03-7C08-D447-8088-29A0E72A5554}" type="datetimeFigureOut">
              <a:rPr lang="en-US" smtClean="0"/>
              <a:t>2/19/20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85700E0-AEB4-A55A-2CB1-A31D20E1290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08FA6C04-7930-CFA8-65B1-6FBAB9E8AA8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358069-37E3-ED4E-A203-67995E824B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22859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14F919-CBB8-DA83-C06D-9692C64D33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15DD4BC-06E7-63B8-A75E-C71E6016058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226E03-7C08-D447-8088-29A0E72A5554}" type="datetimeFigureOut">
              <a:rPr lang="en-US" smtClean="0"/>
              <a:t>2/19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EA95E5C-AB59-7195-E5C1-212994FFC1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7AEB326-C3DB-6AC8-B4D0-A3F0902A8F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358069-37E3-ED4E-A203-67995E824B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334425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650104AC-C185-EF26-04E3-AE94D1F5C7C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226E03-7C08-D447-8088-29A0E72A5554}" type="datetimeFigureOut">
              <a:rPr lang="en-US" smtClean="0"/>
              <a:t>2/19/20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338AB53-D8FA-6B48-3E49-083A0CA4078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3541541-3DE3-B96D-707D-9157B49369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358069-37E3-ED4E-A203-67995E824B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586967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65BA78-3F05-3642-6347-694B37AA21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2616C3C-D8C2-34D7-6304-0952388ED7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C1432E-72FC-626B-ED8E-49FC89553AD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6E181BD-6489-144F-0738-19B3B35564A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226E03-7C08-D447-8088-29A0E72A5554}" type="datetimeFigureOut">
              <a:rPr lang="en-US" smtClean="0"/>
              <a:t>2/1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F842D53-5BFC-24E1-0A0D-39ACF0CA08C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FB17D35-0C69-B098-7566-74424AA76A6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358069-37E3-ED4E-A203-67995E824B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419288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986FF28-38A8-C232-9388-13614FEEB1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C959768B-672C-DABE-C92E-5E48E3D20D32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ADBC41-D859-060E-A247-8870A502608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8D8393-A04A-4B10-F0C9-8B90CEDAF1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226E03-7C08-D447-8088-29A0E72A5554}" type="datetimeFigureOut">
              <a:rPr lang="en-US" smtClean="0"/>
              <a:t>2/19/20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43D3E8A4-42C7-3DC0-4E6F-706CC633C0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081FB1D-73CB-4E7E-114B-EC2DDFEA6BC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358069-37E3-ED4E-A203-67995E824B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039503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2710132-DB62-BF17-0828-74FF808FDC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C94115B-DC84-D197-707C-32FE5E00D7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44A30C5C-2DBB-4CD1-9795-1B15F4756A7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C226E03-7C08-D447-8088-29A0E72A5554}" type="datetimeFigureOut">
              <a:rPr lang="en-US" smtClean="0"/>
              <a:t>2/19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716D9C2-6383-292C-AF51-44B80892C22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8801F68-887B-1C4B-DC4B-CCD96ED1BEC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8358069-37E3-ED4E-A203-67995E824B8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69952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3" r:id="rId1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robjones@liv.ac.uk" TargetMode="External"/><Relationship Id="rId7" Type="http://schemas.openxmlformats.org/officeDocument/2006/relationships/image" Target="../media/image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7" Type="http://schemas.openxmlformats.org/officeDocument/2006/relationships/image" Target="../media/image30.emf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5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30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7" Type="http://schemas.openxmlformats.org/officeDocument/2006/relationships/image" Target="../media/image30.emf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30.emf"/><Relationship Id="rId4" Type="http://schemas.openxmlformats.org/officeDocument/2006/relationships/image" Target="../media/image41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45.jp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46.jp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47.JP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49.jpe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emf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30.emf"/><Relationship Id="rId5" Type="http://schemas.openxmlformats.org/officeDocument/2006/relationships/image" Target="../media/image53.png"/><Relationship Id="rId4" Type="http://schemas.openxmlformats.org/officeDocument/2006/relationships/image" Target="../media/image52.jpeg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4" Type="http://schemas.openxmlformats.org/officeDocument/2006/relationships/image" Target="../media/image55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13" Type="http://schemas.openxmlformats.org/officeDocument/2006/relationships/image" Target="../media/image18.svg"/><Relationship Id="rId3" Type="http://schemas.openxmlformats.org/officeDocument/2006/relationships/oleObject" Target="../embeddings/oleObject4.bin"/><Relationship Id="rId7" Type="http://schemas.openxmlformats.org/officeDocument/2006/relationships/image" Target="../media/image12.svg"/><Relationship Id="rId12" Type="http://schemas.openxmlformats.org/officeDocument/2006/relationships/image" Target="../media/image17.png"/><Relationship Id="rId17" Type="http://schemas.openxmlformats.org/officeDocument/2006/relationships/image" Target="../media/image22.png"/><Relationship Id="rId2" Type="http://schemas.openxmlformats.org/officeDocument/2006/relationships/slideLayout" Target="../slideLayouts/slideLayout13.xml"/><Relationship Id="rId16" Type="http://schemas.openxmlformats.org/officeDocument/2006/relationships/image" Target="../media/image21.png"/><Relationship Id="rId1" Type="http://schemas.openxmlformats.org/officeDocument/2006/relationships/tags" Target="../tags/tag4.xml"/><Relationship Id="rId6" Type="http://schemas.openxmlformats.org/officeDocument/2006/relationships/image" Target="../media/image11.png"/><Relationship Id="rId11" Type="http://schemas.openxmlformats.org/officeDocument/2006/relationships/image" Target="../media/image16.svg"/><Relationship Id="rId5" Type="http://schemas.openxmlformats.org/officeDocument/2006/relationships/image" Target="../media/image10.png"/><Relationship Id="rId15" Type="http://schemas.openxmlformats.org/officeDocument/2006/relationships/image" Target="../media/image20.svg"/><Relationship Id="rId10" Type="http://schemas.openxmlformats.org/officeDocument/2006/relationships/image" Target="../media/image15.png"/><Relationship Id="rId4" Type="http://schemas.openxmlformats.org/officeDocument/2006/relationships/image" Target="../media/image1.emf"/><Relationship Id="rId9" Type="http://schemas.openxmlformats.org/officeDocument/2006/relationships/image" Target="../media/image14.svg"/><Relationship Id="rId14" Type="http://schemas.openxmlformats.org/officeDocument/2006/relationships/image" Target="../media/image19.png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57.jpeg"/><Relationship Id="rId7" Type="http://schemas.openxmlformats.org/officeDocument/2006/relationships/image" Target="../media/image61.png"/><Relationship Id="rId2" Type="http://schemas.openxmlformats.org/officeDocument/2006/relationships/image" Target="../media/image56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60.tiff"/><Relationship Id="rId5" Type="http://schemas.openxmlformats.org/officeDocument/2006/relationships/image" Target="../media/image59.jpg"/><Relationship Id="rId10" Type="http://schemas.openxmlformats.org/officeDocument/2006/relationships/image" Target="../media/image8.png"/><Relationship Id="rId4" Type="http://schemas.openxmlformats.org/officeDocument/2006/relationships/image" Target="../media/image58.jpg"/><Relationship Id="rId9" Type="http://schemas.openxmlformats.org/officeDocument/2006/relationships/image" Target="../media/image62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emf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F570692-071C-6647-A28A-A2A0CF88446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38809" y="1571805"/>
            <a:ext cx="10714382" cy="2387600"/>
          </a:xfrm>
        </p:spPr>
        <p:txBody>
          <a:bodyPr>
            <a:normAutofit/>
          </a:bodyPr>
          <a:lstStyle/>
          <a:p>
            <a:r>
              <a:rPr lang="en-US" sz="4000" dirty="0" err="1"/>
              <a:t>Personalised</a:t>
            </a:r>
            <a:r>
              <a:rPr lang="en-US" sz="4000" dirty="0"/>
              <a:t> Cancer Vaccines</a:t>
            </a:r>
            <a:br>
              <a:rPr lang="en-US" sz="4000" dirty="0"/>
            </a:br>
            <a:endParaRPr lang="en-US" sz="4000" i="1" dirty="0"/>
          </a:p>
        </p:txBody>
      </p:sp>
      <p:sp>
        <p:nvSpPr>
          <p:cNvPr id="5" name="Subtitle 4">
            <a:extLst>
              <a:ext uri="{FF2B5EF4-FFF2-40B4-BE49-F238E27FC236}">
                <a16:creationId xmlns:a16="http://schemas.microsoft.com/office/drawing/2014/main" id="{78896A09-E1CE-7049-B2C7-42C764CC3DA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154373"/>
            <a:ext cx="9144000" cy="644285"/>
          </a:xfrm>
        </p:spPr>
        <p:txBody>
          <a:bodyPr>
            <a:noAutofit/>
          </a:bodyPr>
          <a:lstStyle/>
          <a:p>
            <a:r>
              <a:rPr lang="en-US" sz="2500" dirty="0">
                <a:latin typeface="+mj-lt"/>
              </a:rPr>
              <a:t>Rob Jones</a:t>
            </a:r>
          </a:p>
          <a:p>
            <a:r>
              <a:rPr lang="en-US" sz="1800" dirty="0">
                <a:latin typeface="+mj-lt"/>
              </a:rPr>
              <a:t>Consultant Liver Surgeon &amp; Associate Professor of Surgery</a:t>
            </a:r>
          </a:p>
          <a:p>
            <a:r>
              <a:rPr lang="en-US" sz="1800" dirty="0">
                <a:latin typeface="+mj-lt"/>
              </a:rPr>
              <a:t>UK Chief Investigator, BNT122-01</a:t>
            </a:r>
          </a:p>
          <a:p>
            <a:endParaRPr lang="en-US" sz="2200" dirty="0">
              <a:latin typeface="+mj-lt"/>
            </a:endParaRPr>
          </a:p>
          <a:p>
            <a:r>
              <a:rPr lang="en-US" sz="1800" dirty="0">
                <a:latin typeface="+mj-lt"/>
                <a:hlinkClick r:id="rId3"/>
              </a:rPr>
              <a:t>robjones@liv.ac.uk</a:t>
            </a:r>
            <a:endParaRPr lang="en-US" sz="1800" dirty="0">
              <a:latin typeface="+mj-lt"/>
            </a:endParaRPr>
          </a:p>
          <a:p>
            <a:r>
              <a:rPr lang="en-US" sz="1800" dirty="0">
                <a:latin typeface="+mj-lt"/>
              </a:rPr>
              <a:t>@robjones1979</a:t>
            </a:r>
          </a:p>
        </p:txBody>
      </p:sp>
      <p:pic>
        <p:nvPicPr>
          <p:cNvPr id="4" name="Picture 4">
            <a:extLst>
              <a:ext uri="{FF2B5EF4-FFF2-40B4-BE49-F238E27FC236}">
                <a16:creationId xmlns:a16="http://schemas.microsoft.com/office/drawing/2014/main" id="{3DDC4E1D-6755-0A4E-8DEF-254594E389E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4928" y="140943"/>
            <a:ext cx="2757057" cy="12653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6" descr="https://www.liv.ac.uk/intranet/media/intranet/corporateidentity/images/whiteout_logo_1847.png">
            <a:extLst>
              <a:ext uri="{FF2B5EF4-FFF2-40B4-BE49-F238E27FC236}">
                <a16:creationId xmlns:a16="http://schemas.microsoft.com/office/drawing/2014/main" id="{5E64733E-E07F-EA46-859E-42A3464355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65095" y="121065"/>
            <a:ext cx="3101488" cy="1265398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D040501-60CF-1E2C-DC4E-704463A26BC4}"/>
              </a:ext>
            </a:extLst>
          </p:cNvPr>
          <p:cNvSpPr txBox="1"/>
          <p:nvPr/>
        </p:nvSpPr>
        <p:spPr>
          <a:xfrm>
            <a:off x="3344449" y="1571805"/>
            <a:ext cx="5160724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SWAG Pancreatic Cancer Meeting</a:t>
            </a:r>
          </a:p>
          <a:p>
            <a:pPr algn="ctr"/>
            <a:r>
              <a:rPr lang="en-US" dirty="0"/>
              <a:t>February 2024</a:t>
            </a:r>
          </a:p>
        </p:txBody>
      </p:sp>
      <p:pic>
        <p:nvPicPr>
          <p:cNvPr id="7" name="Picture 2" descr="BioNTech">
            <a:extLst>
              <a:ext uri="{FF2B5EF4-FFF2-40B4-BE49-F238E27FC236}">
                <a16:creationId xmlns:a16="http://schemas.microsoft.com/office/drawing/2014/main" id="{EA5989CA-23AB-10C3-5AFE-CC18FEE43F3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9881"/>
          <a:stretch/>
        </p:blipFill>
        <p:spPr bwMode="auto">
          <a:xfrm>
            <a:off x="204928" y="4993626"/>
            <a:ext cx="2457843" cy="1723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Genentech">
            <a:extLst>
              <a:ext uri="{FF2B5EF4-FFF2-40B4-BE49-F238E27FC236}">
                <a16:creationId xmlns:a16="http://schemas.microsoft.com/office/drawing/2014/main" id="{CE262A11-35FA-5BF8-E043-9CDA776BD93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55858" y="5718214"/>
            <a:ext cx="3210725" cy="8383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9631361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98FE7D-0318-8456-3D47-DB10D4BC93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98FE7D-0318-8456-3D47-DB10D4BC93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E35181F6-9974-4ADD-5F9E-7CFEB0D41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61154" y="223424"/>
            <a:ext cx="10230852" cy="1325563"/>
          </a:xfrm>
        </p:spPr>
        <p:txBody>
          <a:bodyPr vert="horz">
            <a:normAutofit/>
          </a:bodyPr>
          <a:lstStyle/>
          <a:p>
            <a:r>
              <a:rPr lang="en-US" sz="2450" b="1" dirty="0"/>
              <a:t>Q - Can we improve DFS for ctDNA positive CRC patients by adding vaccine to standard </a:t>
            </a:r>
            <a:r>
              <a:rPr lang="en-US" sz="2400" b="1" dirty="0"/>
              <a:t>chemotherapy</a:t>
            </a:r>
            <a:r>
              <a:rPr lang="en-US" sz="2450" b="1" dirty="0"/>
              <a:t>? </a:t>
            </a:r>
            <a:br>
              <a:rPr lang="en-US" sz="2450" b="1" dirty="0"/>
            </a:br>
            <a:endParaRPr lang="en-US" sz="2450" b="1" dirty="0"/>
          </a:p>
        </p:txBody>
      </p:sp>
      <p:sp>
        <p:nvSpPr>
          <p:cNvPr id="8" name="Titel 3">
            <a:extLst>
              <a:ext uri="{FF2B5EF4-FFF2-40B4-BE49-F238E27FC236}">
                <a16:creationId xmlns:a16="http://schemas.microsoft.com/office/drawing/2014/main" id="{8B64F80A-42D0-9B9C-8093-AF6FE2AF55A7}"/>
              </a:ext>
            </a:extLst>
          </p:cNvPr>
          <p:cNvSpPr txBox="1">
            <a:spLocks/>
          </p:cNvSpPr>
          <p:nvPr/>
        </p:nvSpPr>
        <p:spPr>
          <a:xfrm>
            <a:off x="2305579" y="385732"/>
            <a:ext cx="10999787" cy="61555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>
              <a:ln>
                <a:noFill/>
              </a:ln>
              <a:solidFill>
                <a:srgbClr val="3C4447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7C9030F-6294-70A1-836C-8C3A3DF4818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458507" y="1705648"/>
            <a:ext cx="6452535" cy="4594528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:a16="http://schemas.microsoft.com/office/drawing/2014/main" id="{0CC7B09E-685F-8099-30A2-3F049772744B}"/>
              </a:ext>
            </a:extLst>
          </p:cNvPr>
          <p:cNvSpPr/>
          <p:nvPr/>
        </p:nvSpPr>
        <p:spPr>
          <a:xfrm>
            <a:off x="7025407" y="3969327"/>
            <a:ext cx="2057400" cy="14027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CE5346A0-DD5A-E47A-CDA4-BDA7EF687EE8}"/>
              </a:ext>
            </a:extLst>
          </p:cNvPr>
          <p:cNvSpPr/>
          <p:nvPr/>
        </p:nvSpPr>
        <p:spPr>
          <a:xfrm>
            <a:off x="2432214" y="3969326"/>
            <a:ext cx="2057400" cy="14027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BD128EA-E4D3-1CF4-0E9A-22D56AA80768}"/>
              </a:ext>
            </a:extLst>
          </p:cNvPr>
          <p:cNvSpPr/>
          <p:nvPr/>
        </p:nvSpPr>
        <p:spPr>
          <a:xfrm>
            <a:off x="6630552" y="4002912"/>
            <a:ext cx="509154" cy="5586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9DE4062-9982-F273-09CA-10F83E37D6DE}"/>
              </a:ext>
            </a:extLst>
          </p:cNvPr>
          <p:cNvSpPr/>
          <p:nvPr/>
        </p:nvSpPr>
        <p:spPr>
          <a:xfrm>
            <a:off x="4110536" y="4457793"/>
            <a:ext cx="1636789" cy="1869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267D22C-9E25-89C8-67EC-347B5ADF55F2}"/>
              </a:ext>
            </a:extLst>
          </p:cNvPr>
          <p:cNvSpPr/>
          <p:nvPr/>
        </p:nvSpPr>
        <p:spPr>
          <a:xfrm>
            <a:off x="6630552" y="2374736"/>
            <a:ext cx="1423555" cy="94499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927C8190-C597-18B8-02E4-67134A6EB833}"/>
              </a:ext>
            </a:extLst>
          </p:cNvPr>
          <p:cNvSpPr/>
          <p:nvPr/>
        </p:nvSpPr>
        <p:spPr>
          <a:xfrm>
            <a:off x="5806980" y="2471352"/>
            <a:ext cx="1618673" cy="1169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52F4EDE4-4AA5-5428-E2E2-7FF639E1E9CC}"/>
              </a:ext>
            </a:extLst>
          </p:cNvPr>
          <p:cNvSpPr/>
          <p:nvPr/>
        </p:nvSpPr>
        <p:spPr>
          <a:xfrm>
            <a:off x="5790049" y="3114816"/>
            <a:ext cx="1618673" cy="11694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CAC4C8DE-12D3-050D-0C52-C3B87AB3F5ED}"/>
              </a:ext>
            </a:extLst>
          </p:cNvPr>
          <p:cNvGrpSpPr/>
          <p:nvPr/>
        </p:nvGrpSpPr>
        <p:grpSpPr>
          <a:xfrm>
            <a:off x="6794016" y="1845734"/>
            <a:ext cx="2486628" cy="2799005"/>
            <a:chOff x="5016018" y="1845734"/>
            <a:chExt cx="2056440" cy="2799005"/>
          </a:xfrm>
        </p:grpSpPr>
        <p:sp>
          <p:nvSpPr>
            <p:cNvPr id="29" name="Striped Right Arrow 28">
              <a:extLst>
                <a:ext uri="{FF2B5EF4-FFF2-40B4-BE49-F238E27FC236}">
                  <a16:creationId xmlns:a16="http://schemas.microsoft.com/office/drawing/2014/main" id="{0036897B-3F50-7C1A-1CD4-075328946463}"/>
                </a:ext>
              </a:extLst>
            </p:cNvPr>
            <p:cNvSpPr/>
            <p:nvPr/>
          </p:nvSpPr>
          <p:spPr>
            <a:xfrm rot="5400000">
              <a:off x="4644735" y="2217017"/>
              <a:ext cx="2799005" cy="2056440"/>
            </a:xfrm>
            <a:prstGeom prst="stripedRightArrow">
              <a:avLst>
                <a:gd name="adj1" fmla="val 71409"/>
                <a:gd name="adj2" fmla="val 23436"/>
              </a:avLst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F9609E84-B7DC-3287-6070-FC9EB28DE618}"/>
                </a:ext>
              </a:extLst>
            </p:cNvPr>
            <p:cNvSpPr txBox="1"/>
            <p:nvPr/>
          </p:nvSpPr>
          <p:spPr>
            <a:xfrm>
              <a:off x="5310909" y="2810932"/>
              <a:ext cx="1423555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dirty="0">
                  <a:solidFill>
                    <a:schemeClr val="bg1"/>
                  </a:solidFill>
                </a:rPr>
                <a:t>Screen to </a:t>
              </a:r>
              <a:r>
                <a:rPr lang="en-US" sz="1600" dirty="0" err="1">
                  <a:solidFill>
                    <a:schemeClr val="bg1"/>
                  </a:solidFill>
                </a:rPr>
                <a:t>randomisation</a:t>
              </a:r>
              <a:r>
                <a:rPr lang="en-US" sz="1600" dirty="0">
                  <a:solidFill>
                    <a:schemeClr val="bg1"/>
                  </a:solidFill>
                </a:rPr>
                <a:t>  6%</a:t>
              </a:r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10BFACF5-EF8D-E92D-4C27-B31E33502E66}"/>
              </a:ext>
            </a:extLst>
          </p:cNvPr>
          <p:cNvSpPr txBox="1"/>
          <p:nvPr/>
        </p:nvSpPr>
        <p:spPr>
          <a:xfrm>
            <a:off x="4906282" y="4768454"/>
            <a:ext cx="1636789" cy="492443"/>
          </a:xfrm>
          <a:prstGeom prst="rect">
            <a:avLst/>
          </a:prstGeom>
          <a:solidFill>
            <a:srgbClr val="17A14D"/>
          </a:solidFill>
          <a:effectLst>
            <a:softEdge rad="0"/>
          </a:effectLst>
        </p:spPr>
        <p:txBody>
          <a:bodyPr wrap="square" rtlCol="0">
            <a:spAutoFit/>
          </a:bodyPr>
          <a:lstStyle/>
          <a:p>
            <a:pPr algn="ctr"/>
            <a:r>
              <a:rPr lang="en-US" sz="1300" dirty="0"/>
              <a:t>1:1 </a:t>
            </a:r>
            <a:r>
              <a:rPr lang="en-US" sz="1300" dirty="0" err="1"/>
              <a:t>randomisation</a:t>
            </a:r>
            <a:endParaRPr lang="en-US" sz="1300" dirty="0"/>
          </a:p>
          <a:p>
            <a:pPr algn="ctr"/>
            <a:r>
              <a:rPr lang="en-US" sz="1300" dirty="0"/>
              <a:t>n=164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5DACDBB-7D88-A1AA-B6C2-7D0B8B442C9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2062"/>
          <a:stretch/>
        </p:blipFill>
        <p:spPr>
          <a:xfrm>
            <a:off x="20367" y="1655673"/>
            <a:ext cx="3461715" cy="3894689"/>
          </a:xfrm>
          <a:prstGeom prst="rect">
            <a:avLst/>
          </a:prstGeom>
        </p:spPr>
      </p:pic>
      <p:sp>
        <p:nvSpPr>
          <p:cNvPr id="11" name="Textplatzhalter 14">
            <a:extLst>
              <a:ext uri="{FF2B5EF4-FFF2-40B4-BE49-F238E27FC236}">
                <a16:creationId xmlns:a16="http://schemas.microsoft.com/office/drawing/2014/main" id="{0F5F3A8D-8B4F-FCF1-ABBB-CBFA99C2CC5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655811" y="6215683"/>
            <a:ext cx="10999787" cy="276999"/>
          </a:xfrm>
        </p:spPr>
        <p:txBody>
          <a:bodyPr/>
          <a:lstStyle/>
          <a:p>
            <a:r>
              <a:rPr lang="en-US" dirty="0"/>
              <a:t>Source: GALAXY study, Kotani et al. Nature Medicine 2023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23F5C71-4332-E3A4-C18D-663BF6CD6B1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7949" y="132100"/>
            <a:ext cx="1293025" cy="1202430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315681140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2" descr="NHS England » Cancer Alliances – improving care locally">
            <a:extLst>
              <a:ext uri="{FF2B5EF4-FFF2-40B4-BE49-F238E27FC236}">
                <a16:creationId xmlns:a16="http://schemas.microsoft.com/office/drawing/2014/main" id="{9A0A6AF1-1AA7-DB00-B143-DDC1C7F2B71F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40"/>
          <a:stretch/>
        </p:blipFill>
        <p:spPr bwMode="auto">
          <a:xfrm>
            <a:off x="829343" y="543696"/>
            <a:ext cx="4552365" cy="577060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8">
            <a:extLst>
              <a:ext uri="{FF2B5EF4-FFF2-40B4-BE49-F238E27FC236}">
                <a16:creationId xmlns:a16="http://schemas.microsoft.com/office/drawing/2014/main" id="{BAA089A7-885E-28DE-E5CC-81B4CF6981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07117" y="8580"/>
            <a:ext cx="5873168" cy="1559301"/>
          </a:xfrm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400" b="1" dirty="0"/>
              <a:t>Where are the patients?</a:t>
            </a:r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4D7BB8A8-6A06-1465-C807-E9458DDD1E3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15317" y="2477579"/>
            <a:ext cx="5598888" cy="3496878"/>
          </a:xfrm>
        </p:spPr>
        <p:txBody>
          <a:bodyPr vert="horz" lIns="91440" tIns="45720" rIns="91440" bIns="45720" rtlCol="0" anchor="ctr">
            <a:normAutofit lnSpcReduction="10000"/>
          </a:bodyPr>
          <a:lstStyle/>
          <a:p>
            <a:pPr marL="285750"/>
            <a:endParaRPr lang="en-US" sz="2000" dirty="0"/>
          </a:p>
          <a:p>
            <a:pPr marL="628650" indent="-342900">
              <a:buFont typeface="Arial" panose="020B0604020202020204" pitchFamily="34" charset="0"/>
              <a:buChar char="•"/>
            </a:pPr>
            <a:r>
              <a:rPr lang="en-US" sz="2000" dirty="0"/>
              <a:t>16, 000 CRC resections a year</a:t>
            </a:r>
          </a:p>
          <a:p>
            <a:pPr marL="806450" lvl="2" indent="-342900"/>
            <a:r>
              <a:rPr lang="en-US" sz="1800" dirty="0"/>
              <a:t>8000 get adjuvant chemotherapy</a:t>
            </a:r>
          </a:p>
          <a:p>
            <a:pPr marL="806450" lvl="2" indent="-342900"/>
            <a:r>
              <a:rPr lang="en-US" sz="1800" dirty="0"/>
              <a:t>15% ctDNA +</a:t>
            </a:r>
            <a:r>
              <a:rPr lang="en-US" sz="1800" dirty="0" err="1"/>
              <a:t>ve</a:t>
            </a:r>
            <a:r>
              <a:rPr lang="en-US" sz="1800" dirty="0"/>
              <a:t> </a:t>
            </a:r>
          </a:p>
          <a:p>
            <a:pPr marL="806450" lvl="2" indent="-342900"/>
            <a:endParaRPr lang="en-US" sz="2000" dirty="0"/>
          </a:p>
          <a:p>
            <a:pPr marL="806450" lvl="2" indent="-342900"/>
            <a:r>
              <a:rPr lang="en-US" sz="2000" dirty="0"/>
              <a:t>= 1,200 eligible patients in UK each year</a:t>
            </a:r>
          </a:p>
          <a:p>
            <a:pPr marL="285750"/>
            <a:endParaRPr lang="en-US" sz="2000" dirty="0"/>
          </a:p>
          <a:p>
            <a:pPr marL="628650" indent="-342900">
              <a:buFont typeface="Arial" panose="020B0604020202020204" pitchFamily="34" charset="0"/>
              <a:buChar char="•"/>
            </a:pPr>
            <a:r>
              <a:rPr lang="en-US" sz="2000" dirty="0"/>
              <a:t>269 hospitals in the UK</a:t>
            </a:r>
          </a:p>
          <a:p>
            <a:endParaRPr lang="en-US" sz="2000" dirty="0"/>
          </a:p>
          <a:p>
            <a:pPr marL="342900" lvl="1" indent="-342900">
              <a:buFont typeface="Arial" panose="020B0604020202020204" pitchFamily="34" charset="0"/>
              <a:buChar char="•"/>
            </a:pPr>
            <a:r>
              <a:rPr lang="en-US" sz="2100" dirty="0"/>
              <a:t>1200/269 = 5 patients </a:t>
            </a:r>
            <a:r>
              <a:rPr lang="en-US" sz="2100" b="1" i="1" dirty="0"/>
              <a:t>per year per hospital</a:t>
            </a:r>
            <a:endParaRPr lang="en-US" sz="2100" dirty="0"/>
          </a:p>
        </p:txBody>
      </p:sp>
      <p:pic>
        <p:nvPicPr>
          <p:cNvPr id="5122" name="Picture 2" descr="NBOCA (@NBOCA_CEU) / X">
            <a:extLst>
              <a:ext uri="{FF2B5EF4-FFF2-40B4-BE49-F238E27FC236}">
                <a16:creationId xmlns:a16="http://schemas.microsoft.com/office/drawing/2014/main" id="{225033DF-A30E-E803-4FB1-DA198D96A36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7" t="41000" r="8818" b="38136"/>
          <a:stretch/>
        </p:blipFill>
        <p:spPr bwMode="auto">
          <a:xfrm>
            <a:off x="6781805" y="1523500"/>
            <a:ext cx="3616037" cy="8617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26BCE469-10B2-473C-C30D-4DEF03A97AC0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7949" y="132100"/>
            <a:ext cx="1293025" cy="1202430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411810855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016F11-F9F3-1B12-FF90-94E199E5A9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6355" y="291833"/>
            <a:ext cx="10999787" cy="615553"/>
          </a:xfrm>
        </p:spPr>
        <p:txBody>
          <a:bodyPr anchor="b">
            <a:normAutofit/>
          </a:bodyPr>
          <a:lstStyle/>
          <a:p>
            <a:pPr algn="ctr"/>
            <a:r>
              <a:rPr lang="en-US" sz="2400" dirty="0"/>
              <a:t>How can we recruit the patients we know are out there?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D8DA7E55-DB76-A72E-1814-096627C065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524000" y="6622062"/>
            <a:ext cx="7286625" cy="138499"/>
          </a:xfrm>
        </p:spPr>
        <p:txBody>
          <a:bodyPr anchor="ctr">
            <a:normAutofit fontScale="25000" lnSpcReduction="20000"/>
          </a:bodyPr>
          <a:lstStyle/>
          <a:p>
            <a:pPr>
              <a:spcAft>
                <a:spcPts val="600"/>
              </a:spcAft>
            </a:pPr>
            <a:r>
              <a:rPr lang="de-DE"/>
              <a:t>BioNTech-Templat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B6B6799-F0D5-742A-2743-B04CFC7030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95313" y="6622062"/>
            <a:ext cx="243126" cy="138499"/>
          </a:xfrm>
        </p:spPr>
        <p:txBody>
          <a:bodyPr anchor="ctr">
            <a:normAutofit fontScale="25000" lnSpcReduction="20000"/>
          </a:bodyPr>
          <a:lstStyle/>
          <a:p>
            <a:pPr>
              <a:spcAft>
                <a:spcPts val="600"/>
              </a:spcAft>
            </a:pPr>
            <a:fld id="{98358069-37E3-ED4E-A203-67995E824B8A}" type="slidenum">
              <a:rPr lang="en-US" smtClean="0"/>
              <a:pPr>
                <a:spcAft>
                  <a:spcPts val="600"/>
                </a:spcAft>
              </a:pPr>
              <a:t>12</a:t>
            </a:fld>
            <a:endParaRPr lang="en-US"/>
          </a:p>
        </p:txBody>
      </p:sp>
      <p:graphicFrame>
        <p:nvGraphicFramePr>
          <p:cNvPr id="7" name="Content Placeholder 2">
            <a:extLst>
              <a:ext uri="{FF2B5EF4-FFF2-40B4-BE49-F238E27FC236}">
                <a16:creationId xmlns:a16="http://schemas.microsoft.com/office/drawing/2014/main" id="{3382936A-94F4-F504-11BB-73A2A9B22E63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595313" y="1636713"/>
          <a:ext cx="10999787" cy="439193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68F1DDD8-1720-F4B4-8493-6B560D1C54F1}"/>
              </a:ext>
            </a:extLst>
          </p:cNvPr>
          <p:cNvSpPr txBox="1"/>
          <p:nvPr/>
        </p:nvSpPr>
        <p:spPr>
          <a:xfrm>
            <a:off x="5572897" y="3095366"/>
            <a:ext cx="523103" cy="53860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3500" i="1" dirty="0"/>
              <a:t>or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1BBFA96-A84D-4696-1A75-CBC647421D5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7949" y="132100"/>
            <a:ext cx="1293025" cy="1202430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316146307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>
          <a:extLst>
            <a:ext uri="{FF2B5EF4-FFF2-40B4-BE49-F238E27FC236}">
              <a16:creationId xmlns:a16="http://schemas.microsoft.com/office/drawing/2014/main" id="{3DB39DCD-CE01-C329-9FC8-20BFD020886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0" name="Rectangle 9">
            <a:extLst>
              <a:ext uri="{FF2B5EF4-FFF2-40B4-BE49-F238E27FC236}">
                <a16:creationId xmlns:a16="http://schemas.microsoft.com/office/drawing/2014/main" id="{F944E337-3E5D-4A1F-A5A1-2057F25B8A7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4DA50D69-7CF7-4844-B844-A2B821C77F2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1" y="-7854"/>
            <a:ext cx="12192000" cy="6865854"/>
          </a:xfrm>
          <a:prstGeom prst="rect">
            <a:avLst/>
          </a:pr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6D7F333-344E-6CCC-4C89-1A1C25B8D7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1" y="207300"/>
            <a:ext cx="6781800" cy="1338696"/>
          </a:xfrm>
        </p:spPr>
        <p:txBody>
          <a:bodyPr vert="horz" lIns="91440" tIns="45720" rIns="91440" bIns="45720" rtlCol="0" anchor="ctr">
            <a:normAutofit/>
          </a:bodyPr>
          <a:lstStyle/>
          <a:p>
            <a:br>
              <a:rPr lang="en-US" sz="2800" dirty="0">
                <a:solidFill>
                  <a:schemeClr val="tx1"/>
                </a:solidFill>
              </a:rPr>
            </a:br>
            <a:br>
              <a:rPr lang="en-US" sz="2800" dirty="0">
                <a:solidFill>
                  <a:schemeClr val="tx1"/>
                </a:solidFill>
              </a:rPr>
            </a:br>
            <a:r>
              <a:rPr lang="en-US" sz="2800" dirty="0" err="1">
                <a:solidFill>
                  <a:schemeClr val="tx1"/>
                </a:solidFill>
              </a:rPr>
              <a:t>Optimising</a:t>
            </a:r>
            <a:r>
              <a:rPr lang="en-US" sz="2800" dirty="0">
                <a:solidFill>
                  <a:schemeClr val="tx1"/>
                </a:solidFill>
              </a:rPr>
              <a:t> models for recruitment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30F2EC5-83C6-20BC-8BA4-B2F2A2F3CDBD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2436" r="31155"/>
          <a:stretch/>
        </p:blipFill>
        <p:spPr>
          <a:xfrm>
            <a:off x="20" y="10"/>
            <a:ext cx="3754739" cy="6857990"/>
          </a:xfrm>
          <a:custGeom>
            <a:avLst/>
            <a:gdLst/>
            <a:ahLst/>
            <a:cxnLst/>
            <a:rect l="l" t="t" r="r" b="b"/>
            <a:pathLst>
              <a:path w="3754759" h="6858000">
                <a:moveTo>
                  <a:pt x="0" y="0"/>
                </a:moveTo>
                <a:lnTo>
                  <a:pt x="3405358" y="0"/>
                </a:lnTo>
                <a:lnTo>
                  <a:pt x="3406298" y="5103"/>
                </a:lnTo>
                <a:cubicBezTo>
                  <a:pt x="3408705" y="9272"/>
                  <a:pt x="3410993" y="13534"/>
                  <a:pt x="3408744" y="22806"/>
                </a:cubicBezTo>
                <a:cubicBezTo>
                  <a:pt x="3398212" y="18869"/>
                  <a:pt x="3412504" y="58782"/>
                  <a:pt x="3403554" y="60481"/>
                </a:cubicBezTo>
                <a:cubicBezTo>
                  <a:pt x="3417198" y="75379"/>
                  <a:pt x="3401704" y="83956"/>
                  <a:pt x="3406685" y="104437"/>
                </a:cubicBezTo>
                <a:cubicBezTo>
                  <a:pt x="3412035" y="113935"/>
                  <a:pt x="3413215" y="120918"/>
                  <a:pt x="3408439" y="130745"/>
                </a:cubicBezTo>
                <a:cubicBezTo>
                  <a:pt x="3434362" y="174436"/>
                  <a:pt x="3410826" y="157826"/>
                  <a:pt x="3422002" y="199353"/>
                </a:cubicBezTo>
                <a:cubicBezTo>
                  <a:pt x="3433366" y="235046"/>
                  <a:pt x="3441595" y="275734"/>
                  <a:pt x="3466217" y="309590"/>
                </a:cubicBezTo>
                <a:cubicBezTo>
                  <a:pt x="3473022" y="315692"/>
                  <a:pt x="3476249" y="331335"/>
                  <a:pt x="3473425" y="344525"/>
                </a:cubicBezTo>
                <a:cubicBezTo>
                  <a:pt x="3472938" y="346792"/>
                  <a:pt x="3472286" y="348904"/>
                  <a:pt x="3471491" y="350788"/>
                </a:cubicBezTo>
                <a:cubicBezTo>
                  <a:pt x="3476473" y="380853"/>
                  <a:pt x="3497528" y="490678"/>
                  <a:pt x="3503314" y="524915"/>
                </a:cubicBezTo>
                <a:cubicBezTo>
                  <a:pt x="3495110" y="528110"/>
                  <a:pt x="3511009" y="544789"/>
                  <a:pt x="3506208" y="556205"/>
                </a:cubicBezTo>
                <a:cubicBezTo>
                  <a:pt x="3501906" y="564424"/>
                  <a:pt x="3505727" y="571402"/>
                  <a:pt x="3506503" y="579730"/>
                </a:cubicBezTo>
                <a:cubicBezTo>
                  <a:pt x="3503352" y="590904"/>
                  <a:pt x="3511763" y="626437"/>
                  <a:pt x="3516997" y="635552"/>
                </a:cubicBezTo>
                <a:cubicBezTo>
                  <a:pt x="3534688" y="657082"/>
                  <a:pt x="3524838" y="708447"/>
                  <a:pt x="3538464" y="726388"/>
                </a:cubicBezTo>
                <a:cubicBezTo>
                  <a:pt x="3540659" y="733032"/>
                  <a:pt x="3541735" y="739585"/>
                  <a:pt x="3542115" y="746049"/>
                </a:cubicBezTo>
                <a:lnTo>
                  <a:pt x="3541598" y="764218"/>
                </a:lnTo>
                <a:lnTo>
                  <a:pt x="3538294" y="769538"/>
                </a:lnTo>
                <a:lnTo>
                  <a:pt x="3539714" y="780556"/>
                </a:lnTo>
                <a:lnTo>
                  <a:pt x="3539328" y="783752"/>
                </a:lnTo>
                <a:cubicBezTo>
                  <a:pt x="3538575" y="789859"/>
                  <a:pt x="3537953" y="795880"/>
                  <a:pt x="3537882" y="801812"/>
                </a:cubicBezTo>
                <a:cubicBezTo>
                  <a:pt x="3555332" y="793164"/>
                  <a:pt x="3540143" y="850853"/>
                  <a:pt x="3553763" y="833773"/>
                </a:cubicBezTo>
                <a:cubicBezTo>
                  <a:pt x="3556400" y="864868"/>
                  <a:pt x="3568671" y="840452"/>
                  <a:pt x="3557696" y="878520"/>
                </a:cubicBezTo>
                <a:cubicBezTo>
                  <a:pt x="3574636" y="926170"/>
                  <a:pt x="3572932" y="1002669"/>
                  <a:pt x="3596902" y="1039468"/>
                </a:cubicBezTo>
                <a:cubicBezTo>
                  <a:pt x="3588227" y="1035176"/>
                  <a:pt x="3582669" y="1055878"/>
                  <a:pt x="3587550" y="1069793"/>
                </a:cubicBezTo>
                <a:cubicBezTo>
                  <a:pt x="3553603" y="1054905"/>
                  <a:pt x="3620138" y="1124159"/>
                  <a:pt x="3598129" y="1137690"/>
                </a:cubicBezTo>
                <a:cubicBezTo>
                  <a:pt x="3619154" y="1137277"/>
                  <a:pt x="3657845" y="1198819"/>
                  <a:pt x="3642072" y="1229443"/>
                </a:cubicBezTo>
                <a:cubicBezTo>
                  <a:pt x="3648492" y="1274612"/>
                  <a:pt x="3667414" y="1305895"/>
                  <a:pt x="3662799" y="1353804"/>
                </a:cubicBezTo>
                <a:cubicBezTo>
                  <a:pt x="3665680" y="1355144"/>
                  <a:pt x="3668149" y="1357448"/>
                  <a:pt x="3670319" y="1360420"/>
                </a:cubicBezTo>
                <a:lnTo>
                  <a:pt x="3675717" y="1370453"/>
                </a:lnTo>
                <a:lnTo>
                  <a:pt x="3675458" y="1372456"/>
                </a:lnTo>
                <a:cubicBezTo>
                  <a:pt x="3675775" y="1380261"/>
                  <a:pt x="3677154" y="1384198"/>
                  <a:pt x="3678998" y="1386422"/>
                </a:cubicBezTo>
                <a:lnTo>
                  <a:pt x="3681613" y="1387932"/>
                </a:lnTo>
                <a:lnTo>
                  <a:pt x="3684619" y="1397028"/>
                </a:lnTo>
                <a:lnTo>
                  <a:pt x="3692094" y="1413643"/>
                </a:lnTo>
                <a:lnTo>
                  <a:pt x="3692036" y="1417975"/>
                </a:lnTo>
                <a:lnTo>
                  <a:pt x="3701043" y="1444940"/>
                </a:lnTo>
                <a:lnTo>
                  <a:pt x="3700474" y="1445893"/>
                </a:lnTo>
                <a:cubicBezTo>
                  <a:pt x="3699407" y="1448641"/>
                  <a:pt x="3699006" y="1451835"/>
                  <a:pt x="3699990" y="1456030"/>
                </a:cubicBezTo>
                <a:cubicBezTo>
                  <a:pt x="3688343" y="1458099"/>
                  <a:pt x="3696713" y="1461887"/>
                  <a:pt x="3700642" y="1474079"/>
                </a:cubicBezTo>
                <a:cubicBezTo>
                  <a:pt x="3683431" y="1480016"/>
                  <a:pt x="3700716" y="1509516"/>
                  <a:pt x="3693587" y="1522890"/>
                </a:cubicBezTo>
                <a:cubicBezTo>
                  <a:pt x="3696861" y="1531716"/>
                  <a:pt x="3700010" y="1541157"/>
                  <a:pt x="3702900" y="1551068"/>
                </a:cubicBezTo>
                <a:lnTo>
                  <a:pt x="3708038" y="1631578"/>
                </a:lnTo>
                <a:lnTo>
                  <a:pt x="3698097" y="1716642"/>
                </a:lnTo>
                <a:cubicBezTo>
                  <a:pt x="3699314" y="1747867"/>
                  <a:pt x="3695412" y="1775147"/>
                  <a:pt x="3700384" y="1801382"/>
                </a:cubicBezTo>
                <a:cubicBezTo>
                  <a:pt x="3696845" y="1812311"/>
                  <a:pt x="3695699" y="1822504"/>
                  <a:pt x="3702257" y="1832013"/>
                </a:cubicBezTo>
                <a:cubicBezTo>
                  <a:pt x="3701651" y="1861238"/>
                  <a:pt x="3693313" y="1868713"/>
                  <a:pt x="3700986" y="1886838"/>
                </a:cubicBezTo>
                <a:cubicBezTo>
                  <a:pt x="3687741" y="1903887"/>
                  <a:pt x="3693148" y="1904594"/>
                  <a:pt x="3697545" y="1912087"/>
                </a:cubicBezTo>
                <a:lnTo>
                  <a:pt x="3697885" y="1913171"/>
                </a:lnTo>
                <a:lnTo>
                  <a:pt x="3695987" y="1915505"/>
                </a:lnTo>
                <a:lnTo>
                  <a:pt x="3695284" y="1920179"/>
                </a:lnTo>
                <a:lnTo>
                  <a:pt x="3696499" y="1932787"/>
                </a:lnTo>
                <a:lnTo>
                  <a:pt x="3697473" y="1937503"/>
                </a:lnTo>
                <a:cubicBezTo>
                  <a:pt x="3697953" y="1940760"/>
                  <a:pt x="3698023" y="1942937"/>
                  <a:pt x="3697799" y="1944457"/>
                </a:cubicBezTo>
                <a:lnTo>
                  <a:pt x="3697642" y="1944638"/>
                </a:lnTo>
                <a:lnTo>
                  <a:pt x="3698268" y="1951136"/>
                </a:lnTo>
                <a:cubicBezTo>
                  <a:pt x="3699704" y="1962083"/>
                  <a:pt x="3701457" y="1972719"/>
                  <a:pt x="3703418" y="1982828"/>
                </a:cubicBezTo>
                <a:cubicBezTo>
                  <a:pt x="3694620" y="1991887"/>
                  <a:pt x="3707345" y="2028973"/>
                  <a:pt x="3689767" y="2025705"/>
                </a:cubicBezTo>
                <a:cubicBezTo>
                  <a:pt x="3691896" y="2039367"/>
                  <a:pt x="3699517" y="2047321"/>
                  <a:pt x="3687894" y="2043252"/>
                </a:cubicBezTo>
                <a:cubicBezTo>
                  <a:pt x="3688268" y="2047766"/>
                  <a:pt x="3687435" y="2050599"/>
                  <a:pt x="3686015" y="2052668"/>
                </a:cubicBezTo>
                <a:lnTo>
                  <a:pt x="3685329" y="2053280"/>
                </a:lnTo>
                <a:lnTo>
                  <a:pt x="3690348" y="2083660"/>
                </a:lnTo>
                <a:lnTo>
                  <a:pt x="3689688" y="2087758"/>
                </a:lnTo>
                <a:lnTo>
                  <a:pt x="3694656" y="2107476"/>
                </a:lnTo>
                <a:lnTo>
                  <a:pt x="3696317" y="2117709"/>
                </a:lnTo>
                <a:lnTo>
                  <a:pt x="3698652" y="2120508"/>
                </a:lnTo>
                <a:cubicBezTo>
                  <a:pt x="3700138" y="2123582"/>
                  <a:pt x="3700933" y="2128051"/>
                  <a:pt x="3700157" y="2135655"/>
                </a:cubicBezTo>
                <a:lnTo>
                  <a:pt x="3699626" y="2137431"/>
                </a:lnTo>
                <a:lnTo>
                  <a:pt x="3703486" y="2149795"/>
                </a:lnTo>
                <a:cubicBezTo>
                  <a:pt x="3705184" y="2153754"/>
                  <a:pt x="3707268" y="2157232"/>
                  <a:pt x="3709885" y="2160002"/>
                </a:cubicBezTo>
                <a:cubicBezTo>
                  <a:pt x="3698737" y="2203287"/>
                  <a:pt x="3712805" y="2242927"/>
                  <a:pt x="3712777" y="2289319"/>
                </a:cubicBezTo>
                <a:cubicBezTo>
                  <a:pt x="3693169" y="2310331"/>
                  <a:pt x="3722276" y="2389074"/>
                  <a:pt x="3742794" y="2399589"/>
                </a:cubicBezTo>
                <a:cubicBezTo>
                  <a:pt x="3725319" y="2400703"/>
                  <a:pt x="3751962" y="2457534"/>
                  <a:pt x="3753311" y="2472464"/>
                </a:cubicBezTo>
                <a:cubicBezTo>
                  <a:pt x="3753760" y="2477441"/>
                  <a:pt x="3751399" y="2477762"/>
                  <a:pt x="3743656" y="2469811"/>
                </a:cubicBezTo>
                <a:cubicBezTo>
                  <a:pt x="3746474" y="2485608"/>
                  <a:pt x="3738186" y="2502460"/>
                  <a:pt x="3730339" y="2493869"/>
                </a:cubicBezTo>
                <a:cubicBezTo>
                  <a:pt x="3748556" y="2541387"/>
                  <a:pt x="3736267" y="2613433"/>
                  <a:pt x="3746134" y="2667651"/>
                </a:cubicBezTo>
                <a:cubicBezTo>
                  <a:pt x="3730160" y="2698252"/>
                  <a:pt x="3745496" y="2681337"/>
                  <a:pt x="3743743" y="2712354"/>
                </a:cubicBezTo>
                <a:cubicBezTo>
                  <a:pt x="3759373" y="2703131"/>
                  <a:pt x="3736572" y="2750256"/>
                  <a:pt x="3754759" y="2751060"/>
                </a:cubicBezTo>
                <a:cubicBezTo>
                  <a:pt x="3753864" y="2756679"/>
                  <a:pt x="3752424" y="2762098"/>
                  <a:pt x="3750841" y="2767527"/>
                </a:cubicBezTo>
                <a:lnTo>
                  <a:pt x="3750021" y="2770377"/>
                </a:lnTo>
                <a:lnTo>
                  <a:pt x="3749874" y="2781617"/>
                </a:lnTo>
                <a:lnTo>
                  <a:pt x="3745916" y="2784975"/>
                </a:lnTo>
                <a:lnTo>
                  <a:pt x="3742888" y="2802030"/>
                </a:lnTo>
                <a:cubicBezTo>
                  <a:pt x="3742360" y="2808388"/>
                  <a:pt x="3742498" y="2815196"/>
                  <a:pt x="3743710" y="2822667"/>
                </a:cubicBezTo>
                <a:cubicBezTo>
                  <a:pt x="3751787" y="2840797"/>
                  <a:pt x="3744398" y="2870002"/>
                  <a:pt x="3746201" y="2896003"/>
                </a:cubicBezTo>
                <a:lnTo>
                  <a:pt x="3749006" y="2907846"/>
                </a:lnTo>
                <a:lnTo>
                  <a:pt x="3747206" y="2947037"/>
                </a:lnTo>
                <a:cubicBezTo>
                  <a:pt x="3747030" y="2958176"/>
                  <a:pt x="3747214" y="2969719"/>
                  <a:pt x="3748070" y="2981841"/>
                </a:cubicBezTo>
                <a:lnTo>
                  <a:pt x="3750937" y="3004278"/>
                </a:lnTo>
                <a:lnTo>
                  <a:pt x="3749761" y="3010254"/>
                </a:lnTo>
                <a:cubicBezTo>
                  <a:pt x="3750425" y="3020530"/>
                  <a:pt x="3756245" y="3033889"/>
                  <a:pt x="3749923" y="3032983"/>
                </a:cubicBezTo>
                <a:lnTo>
                  <a:pt x="3752658" y="3044429"/>
                </a:lnTo>
                <a:lnTo>
                  <a:pt x="3748217" y="3056076"/>
                </a:lnTo>
                <a:cubicBezTo>
                  <a:pt x="3747117" y="3057381"/>
                  <a:pt x="3745928" y="3058381"/>
                  <a:pt x="3744691" y="3059042"/>
                </a:cubicBezTo>
                <a:lnTo>
                  <a:pt x="3747123" y="3075102"/>
                </a:lnTo>
                <a:lnTo>
                  <a:pt x="3744190" y="3088509"/>
                </a:lnTo>
                <a:lnTo>
                  <a:pt x="3747093" y="3099930"/>
                </a:lnTo>
                <a:lnTo>
                  <a:pt x="3746799" y="3104743"/>
                </a:lnTo>
                <a:lnTo>
                  <a:pt x="3745610" y="3116729"/>
                </a:lnTo>
                <a:cubicBezTo>
                  <a:pt x="3744666" y="3122891"/>
                  <a:pt x="3743503" y="3129792"/>
                  <a:pt x="3742676" y="3137453"/>
                </a:cubicBezTo>
                <a:lnTo>
                  <a:pt x="3742441" y="3143884"/>
                </a:lnTo>
                <a:lnTo>
                  <a:pt x="3737104" y="3158122"/>
                </a:lnTo>
                <a:cubicBezTo>
                  <a:pt x="3733050" y="3168490"/>
                  <a:pt x="3730374" y="3176626"/>
                  <a:pt x="3733275" y="3185367"/>
                </a:cubicBezTo>
                <a:cubicBezTo>
                  <a:pt x="3728135" y="3200760"/>
                  <a:pt x="3712176" y="3212117"/>
                  <a:pt x="3717639" y="3233769"/>
                </a:cubicBezTo>
                <a:cubicBezTo>
                  <a:pt x="3709851" y="3227497"/>
                  <a:pt x="3717920" y="3258095"/>
                  <a:pt x="3710433" y="3262123"/>
                </a:cubicBezTo>
                <a:cubicBezTo>
                  <a:pt x="3704342" y="3264110"/>
                  <a:pt x="3705370" y="3273856"/>
                  <a:pt x="3703458" y="3281408"/>
                </a:cubicBezTo>
                <a:cubicBezTo>
                  <a:pt x="3697412" y="3287020"/>
                  <a:pt x="3693483" y="3324746"/>
                  <a:pt x="3695027" y="3337739"/>
                </a:cubicBezTo>
                <a:cubicBezTo>
                  <a:pt x="3703095" y="3374177"/>
                  <a:pt x="3679154" y="3404974"/>
                  <a:pt x="3684951" y="3434139"/>
                </a:cubicBezTo>
                <a:cubicBezTo>
                  <a:pt x="3684732" y="3441861"/>
                  <a:pt x="3683615" y="3448308"/>
                  <a:pt x="3681946" y="3453928"/>
                </a:cubicBezTo>
                <a:lnTo>
                  <a:pt x="3675939" y="3468021"/>
                </a:lnTo>
                <a:cubicBezTo>
                  <a:pt x="3674480" y="3468264"/>
                  <a:pt x="3673022" y="3468506"/>
                  <a:pt x="3671563" y="3468748"/>
                </a:cubicBezTo>
                <a:lnTo>
                  <a:pt x="3669360" y="3479164"/>
                </a:lnTo>
                <a:lnTo>
                  <a:pt x="3668060" y="3481325"/>
                </a:lnTo>
                <a:cubicBezTo>
                  <a:pt x="3665560" y="3485437"/>
                  <a:pt x="3663197" y="3489622"/>
                  <a:pt x="3661315" y="3494328"/>
                </a:cubicBezTo>
                <a:cubicBezTo>
                  <a:pt x="3678446" y="3506175"/>
                  <a:pt x="3648136" y="3536311"/>
                  <a:pt x="3664679" y="3537226"/>
                </a:cubicBezTo>
                <a:cubicBezTo>
                  <a:pt x="3657322" y="3565147"/>
                  <a:pt x="3674997" y="3558694"/>
                  <a:pt x="3654205" y="3577551"/>
                </a:cubicBezTo>
                <a:cubicBezTo>
                  <a:pt x="3653633" y="3634248"/>
                  <a:pt x="3628736" y="3694092"/>
                  <a:pt x="3637325" y="3749618"/>
                </a:cubicBezTo>
                <a:cubicBezTo>
                  <a:pt x="3631446" y="3736800"/>
                  <a:pt x="3620480" y="3747498"/>
                  <a:pt x="3620258" y="3763981"/>
                </a:cubicBezTo>
                <a:cubicBezTo>
                  <a:pt x="3596667" y="3715365"/>
                  <a:pt x="3630603" y="3842969"/>
                  <a:pt x="3608193" y="3830141"/>
                </a:cubicBezTo>
                <a:cubicBezTo>
                  <a:pt x="3625759" y="3852486"/>
                  <a:pt x="3638965" y="3943841"/>
                  <a:pt x="3616479" y="3951521"/>
                </a:cubicBezTo>
                <a:cubicBezTo>
                  <a:pt x="3607940" y="3994867"/>
                  <a:pt x="3614033" y="4040502"/>
                  <a:pt x="3595498" y="4074157"/>
                </a:cubicBezTo>
                <a:cubicBezTo>
                  <a:pt x="3597477" y="4078342"/>
                  <a:pt x="3598819" y="4082864"/>
                  <a:pt x="3599706" y="4087599"/>
                </a:cubicBezTo>
                <a:lnTo>
                  <a:pt x="3601103" y="4101515"/>
                </a:lnTo>
                <a:lnTo>
                  <a:pt x="3600274" y="4102849"/>
                </a:lnTo>
                <a:cubicBezTo>
                  <a:pt x="3598143" y="4109482"/>
                  <a:pt x="3598077" y="4114144"/>
                  <a:pt x="3598925" y="4117926"/>
                </a:cubicBezTo>
                <a:lnTo>
                  <a:pt x="3600630" y="4121966"/>
                </a:lnTo>
                <a:lnTo>
                  <a:pt x="3600331" y="4132543"/>
                </a:lnTo>
                <a:lnTo>
                  <a:pt x="3601432" y="4154003"/>
                </a:lnTo>
                <a:lnTo>
                  <a:pt x="3600054" y="4157433"/>
                </a:lnTo>
                <a:lnTo>
                  <a:pt x="3599248" y="4188888"/>
                </a:lnTo>
                <a:cubicBezTo>
                  <a:pt x="3598993" y="4188940"/>
                  <a:pt x="3598738" y="4188992"/>
                  <a:pt x="3598484" y="4189044"/>
                </a:cubicBezTo>
                <a:cubicBezTo>
                  <a:pt x="3596754" y="4190111"/>
                  <a:pt x="3595443" y="4192250"/>
                  <a:pt x="3594971" y="4196698"/>
                </a:cubicBezTo>
                <a:cubicBezTo>
                  <a:pt x="3584674" y="4185805"/>
                  <a:pt x="3590455" y="4197885"/>
                  <a:pt x="3589971" y="4211958"/>
                </a:cubicBezTo>
                <a:cubicBezTo>
                  <a:pt x="3573870" y="4198179"/>
                  <a:pt x="3579156" y="4240607"/>
                  <a:pt x="3569135" y="4243705"/>
                </a:cubicBezTo>
                <a:cubicBezTo>
                  <a:pt x="3569142" y="4254351"/>
                  <a:pt x="3568856" y="4265362"/>
                  <a:pt x="3568210" y="4276468"/>
                </a:cubicBezTo>
                <a:lnTo>
                  <a:pt x="3567613" y="4282925"/>
                </a:lnTo>
                <a:cubicBezTo>
                  <a:pt x="3567553" y="4282949"/>
                  <a:pt x="3567492" y="4282974"/>
                  <a:pt x="3567432" y="4282999"/>
                </a:cubicBezTo>
                <a:cubicBezTo>
                  <a:pt x="3566940" y="4284280"/>
                  <a:pt x="3566607" y="4286359"/>
                  <a:pt x="3566464" y="4289697"/>
                </a:cubicBezTo>
                <a:lnTo>
                  <a:pt x="3566526" y="4294698"/>
                </a:lnTo>
                <a:lnTo>
                  <a:pt x="3565367" y="4307225"/>
                </a:lnTo>
                <a:lnTo>
                  <a:pt x="3563841" y="4311164"/>
                </a:lnTo>
                <a:lnTo>
                  <a:pt x="3561610" y="4312189"/>
                </a:lnTo>
                <a:lnTo>
                  <a:pt x="3561734" y="4313408"/>
                </a:lnTo>
                <a:cubicBezTo>
                  <a:pt x="3564537" y="4323096"/>
                  <a:pt x="3569544" y="4327053"/>
                  <a:pt x="3553832" y="4334910"/>
                </a:cubicBezTo>
                <a:cubicBezTo>
                  <a:pt x="3557797" y="4356533"/>
                  <a:pt x="3548502" y="4358433"/>
                  <a:pt x="3542564" y="4385380"/>
                </a:cubicBezTo>
                <a:cubicBezTo>
                  <a:pt x="3547050" y="4398267"/>
                  <a:pt x="3544091" y="4407098"/>
                  <a:pt x="3538724" y="4415150"/>
                </a:cubicBezTo>
                <a:cubicBezTo>
                  <a:pt x="3538633" y="4442707"/>
                  <a:pt x="3529920" y="4465824"/>
                  <a:pt x="3525348" y="4495753"/>
                </a:cubicBezTo>
                <a:cubicBezTo>
                  <a:pt x="3529387" y="4530212"/>
                  <a:pt x="3514579" y="4543935"/>
                  <a:pt x="3509749" y="4575934"/>
                </a:cubicBezTo>
                <a:cubicBezTo>
                  <a:pt x="3519579" y="4606914"/>
                  <a:pt x="3496418" y="4596497"/>
                  <a:pt x="3489779" y="4611927"/>
                </a:cubicBezTo>
                <a:lnTo>
                  <a:pt x="3488856" y="4616508"/>
                </a:lnTo>
                <a:lnTo>
                  <a:pt x="3489486" y="4629163"/>
                </a:lnTo>
                <a:lnTo>
                  <a:pt x="3490242" y="4633947"/>
                </a:lnTo>
                <a:cubicBezTo>
                  <a:pt x="3490570" y="4637233"/>
                  <a:pt x="3490539" y="4639406"/>
                  <a:pt x="3490244" y="4640894"/>
                </a:cubicBezTo>
                <a:lnTo>
                  <a:pt x="3490078" y="4641059"/>
                </a:lnTo>
                <a:lnTo>
                  <a:pt x="3490403" y="4647582"/>
                </a:lnTo>
                <a:cubicBezTo>
                  <a:pt x="3491330" y="4658608"/>
                  <a:pt x="3492590" y="4669354"/>
                  <a:pt x="3494082" y="4679601"/>
                </a:cubicBezTo>
                <a:cubicBezTo>
                  <a:pt x="3484854" y="4687754"/>
                  <a:pt x="3495864" y="4725869"/>
                  <a:pt x="3478421" y="4720918"/>
                </a:cubicBezTo>
                <a:cubicBezTo>
                  <a:pt x="3479918" y="4734712"/>
                  <a:pt x="3487176" y="4743359"/>
                  <a:pt x="3475730" y="4738188"/>
                </a:cubicBezTo>
                <a:cubicBezTo>
                  <a:pt x="3475894" y="4742712"/>
                  <a:pt x="3474928" y="4745450"/>
                  <a:pt x="3473409" y="4747368"/>
                </a:cubicBezTo>
                <a:lnTo>
                  <a:pt x="3472696" y="4747913"/>
                </a:lnTo>
                <a:lnTo>
                  <a:pt x="3476304" y="4778609"/>
                </a:lnTo>
                <a:lnTo>
                  <a:pt x="3475454" y="4782623"/>
                </a:lnTo>
                <a:lnTo>
                  <a:pt x="3479507" y="4802712"/>
                </a:lnTo>
                <a:lnTo>
                  <a:pt x="3480695" y="4813049"/>
                </a:lnTo>
                <a:lnTo>
                  <a:pt x="3482902" y="4816057"/>
                </a:lnTo>
                <a:cubicBezTo>
                  <a:pt x="3484247" y="4819259"/>
                  <a:pt x="3484834" y="4823783"/>
                  <a:pt x="3483703" y="4831270"/>
                </a:cubicBezTo>
                <a:lnTo>
                  <a:pt x="3483090" y="4832984"/>
                </a:lnTo>
                <a:lnTo>
                  <a:pt x="3486378" y="4845654"/>
                </a:lnTo>
                <a:cubicBezTo>
                  <a:pt x="3487893" y="4849755"/>
                  <a:pt x="3489817" y="4853416"/>
                  <a:pt x="3492309" y="4856425"/>
                </a:cubicBezTo>
                <a:cubicBezTo>
                  <a:pt x="3479133" y="4898390"/>
                  <a:pt x="3491371" y="4939174"/>
                  <a:pt x="3489182" y="4985308"/>
                </a:cubicBezTo>
                <a:cubicBezTo>
                  <a:pt x="3492413" y="5037202"/>
                  <a:pt x="3496839" y="5073159"/>
                  <a:pt x="3498182" y="5107346"/>
                </a:cubicBezTo>
                <a:cubicBezTo>
                  <a:pt x="3500266" y="5123329"/>
                  <a:pt x="3506680" y="5240376"/>
                  <a:pt x="3499225" y="5231073"/>
                </a:cubicBezTo>
                <a:cubicBezTo>
                  <a:pt x="3515247" y="5280090"/>
                  <a:pt x="3497607" y="5309911"/>
                  <a:pt x="3504960" y="5364785"/>
                </a:cubicBezTo>
                <a:cubicBezTo>
                  <a:pt x="3487546" y="5393671"/>
                  <a:pt x="3503686" y="5378336"/>
                  <a:pt x="3500486" y="5409009"/>
                </a:cubicBezTo>
                <a:cubicBezTo>
                  <a:pt x="3516561" y="5401350"/>
                  <a:pt x="3491544" y="5446009"/>
                  <a:pt x="3509710" y="5448570"/>
                </a:cubicBezTo>
                <a:cubicBezTo>
                  <a:pt x="3508555" y="5454072"/>
                  <a:pt x="3506859" y="5459319"/>
                  <a:pt x="3505022" y="5464568"/>
                </a:cubicBezTo>
                <a:lnTo>
                  <a:pt x="3504070" y="5467320"/>
                </a:lnTo>
                <a:lnTo>
                  <a:pt x="3503399" y="5478483"/>
                </a:lnTo>
                <a:lnTo>
                  <a:pt x="3499281" y="5481443"/>
                </a:lnTo>
                <a:lnTo>
                  <a:pt x="3499047" y="5616712"/>
                </a:lnTo>
                <a:cubicBezTo>
                  <a:pt x="3502347" y="5628424"/>
                  <a:pt x="3503819" y="5666768"/>
                  <a:pt x="3498775" y="5675291"/>
                </a:cubicBezTo>
                <a:cubicBezTo>
                  <a:pt x="3497984" y="5683547"/>
                  <a:pt x="3500335" y="5692400"/>
                  <a:pt x="3494739" y="5697458"/>
                </a:cubicBezTo>
                <a:cubicBezTo>
                  <a:pt x="3492180" y="5715432"/>
                  <a:pt x="3486290" y="5756597"/>
                  <a:pt x="3483423" y="5783137"/>
                </a:cubicBezTo>
                <a:cubicBezTo>
                  <a:pt x="3491452" y="5796973"/>
                  <a:pt x="3477643" y="5819988"/>
                  <a:pt x="3477532" y="5856699"/>
                </a:cubicBezTo>
                <a:cubicBezTo>
                  <a:pt x="3486776" y="5871818"/>
                  <a:pt x="3477340" y="5881447"/>
                  <a:pt x="3490032" y="5910638"/>
                </a:cubicBezTo>
                <a:cubicBezTo>
                  <a:pt x="3488930" y="5911913"/>
                  <a:pt x="3487924" y="5913488"/>
                  <a:pt x="3487046" y="5915313"/>
                </a:cubicBezTo>
                <a:cubicBezTo>
                  <a:pt x="3481941" y="5925917"/>
                  <a:pt x="3482137" y="5942505"/>
                  <a:pt x="3487484" y="5952365"/>
                </a:cubicBezTo>
                <a:cubicBezTo>
                  <a:pt x="3504666" y="5999029"/>
                  <a:pt x="3505019" y="6042078"/>
                  <a:pt x="3509266" y="6082373"/>
                </a:cubicBezTo>
                <a:cubicBezTo>
                  <a:pt x="3512265" y="6128005"/>
                  <a:pt x="3492950" y="6098121"/>
                  <a:pt x="3509564" y="6154771"/>
                </a:cubicBezTo>
                <a:cubicBezTo>
                  <a:pt x="3503223" y="6161045"/>
                  <a:pt x="3503062" y="6168289"/>
                  <a:pt x="3506404" y="6180433"/>
                </a:cubicBezTo>
                <a:cubicBezTo>
                  <a:pt x="3507378" y="6202614"/>
                  <a:pt x="3491084" y="6201180"/>
                  <a:pt x="3501312" y="6223427"/>
                </a:cubicBezTo>
                <a:cubicBezTo>
                  <a:pt x="3492497" y="6219559"/>
                  <a:pt x="3498753" y="6265580"/>
                  <a:pt x="3489469" y="6255476"/>
                </a:cubicBezTo>
                <a:cubicBezTo>
                  <a:pt x="3481791" y="6270065"/>
                  <a:pt x="3495037" y="6276996"/>
                  <a:pt x="3488398" y="6291462"/>
                </a:cubicBezTo>
                <a:cubicBezTo>
                  <a:pt x="3487099" y="6307679"/>
                  <a:pt x="3497555" y="6282019"/>
                  <a:pt x="3498547" y="6299935"/>
                </a:cubicBezTo>
                <a:cubicBezTo>
                  <a:pt x="3498173" y="6321676"/>
                  <a:pt x="3514193" y="6321381"/>
                  <a:pt x="3494028" y="6338390"/>
                </a:cubicBezTo>
                <a:lnTo>
                  <a:pt x="3486030" y="6396716"/>
                </a:lnTo>
                <a:cubicBezTo>
                  <a:pt x="3491309" y="6409668"/>
                  <a:pt x="3488928" y="6420134"/>
                  <a:pt x="3484103" y="6430386"/>
                </a:cubicBezTo>
                <a:cubicBezTo>
                  <a:pt x="3485763" y="6460632"/>
                  <a:pt x="3478568" y="6488285"/>
                  <a:pt x="3475922" y="6522318"/>
                </a:cubicBezTo>
                <a:cubicBezTo>
                  <a:pt x="3482128" y="6559051"/>
                  <a:pt x="3468277" y="6578006"/>
                  <a:pt x="3465506" y="6614374"/>
                </a:cubicBezTo>
                <a:cubicBezTo>
                  <a:pt x="3478925" y="6650248"/>
                  <a:pt x="3446064" y="6638174"/>
                  <a:pt x="3446789" y="6668768"/>
                </a:cubicBezTo>
                <a:cubicBezTo>
                  <a:pt x="3458869" y="6718505"/>
                  <a:pt x="3435878" y="6667592"/>
                  <a:pt x="3439582" y="6744454"/>
                </a:cubicBezTo>
                <a:cubicBezTo>
                  <a:pt x="3441631" y="6748797"/>
                  <a:pt x="3439393" y="6758101"/>
                  <a:pt x="3436538" y="6757102"/>
                </a:cubicBezTo>
                <a:cubicBezTo>
                  <a:pt x="3437461" y="6773941"/>
                  <a:pt x="3420846" y="6822488"/>
                  <a:pt x="3424061" y="6846522"/>
                </a:cubicBezTo>
                <a:lnTo>
                  <a:pt x="3423032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6077A4A3-A0B8-32D3-9BC2-FABDC8041376}"/>
              </a:ext>
            </a:extLst>
          </p:cNvPr>
          <p:cNvSpPr txBox="1"/>
          <p:nvPr/>
        </p:nvSpPr>
        <p:spPr>
          <a:xfrm>
            <a:off x="4572001" y="2201958"/>
            <a:ext cx="6781800" cy="3900730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29BA74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lIns="91440" tIns="45720" rIns="91440" bIns="45720" numCol="1" spcCol="0" rtlCol="0" fromWordArt="0" anchor="t" anchorCtr="0" forceAA="0" compatLnSpc="1">
            <a:prstTxWarp prst="textNoShape">
              <a:avLst/>
            </a:prstTxWarp>
            <a:normAutofit/>
          </a:bodyPr>
          <a:lstStyle/>
          <a:p>
            <a:pPr marL="742950" lvl="1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>
              <a:solidFill>
                <a:schemeClr val="tx1"/>
              </a:solidFill>
            </a:endParaRPr>
          </a:p>
          <a:p>
            <a:pPr lvl="1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>
              <a:solidFill>
                <a:schemeClr val="tx1"/>
              </a:solidFill>
            </a:endParaRPr>
          </a:p>
          <a:p>
            <a:pPr marL="742950" lvl="1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</a:rPr>
              <a:t>Hub &amp; Spoke</a:t>
            </a:r>
          </a:p>
          <a:p>
            <a:pPr marL="742950" lvl="1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>
              <a:solidFill>
                <a:schemeClr val="tx1"/>
              </a:solidFill>
            </a:endParaRPr>
          </a:p>
          <a:p>
            <a:pPr marL="742950" lvl="1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</a:rPr>
              <a:t>PIC-plus</a:t>
            </a:r>
          </a:p>
          <a:p>
            <a:pPr marL="742950" lvl="1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>
              <a:solidFill>
                <a:schemeClr val="tx1"/>
              </a:solidFill>
            </a:endParaRPr>
          </a:p>
          <a:p>
            <a:pPr marL="742950" lvl="1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</a:rPr>
              <a:t>NHSE Cancer Vaccine Launchpad</a:t>
            </a:r>
          </a:p>
          <a:p>
            <a:pPr marL="742950" lvl="1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en-US" sz="2000">
              <a:solidFill>
                <a:schemeClr val="tx1"/>
              </a:solidFill>
            </a:endParaRPr>
          </a:p>
          <a:p>
            <a:pPr marL="742950" lvl="1" indent="-2286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sz="2000">
                <a:solidFill>
                  <a:schemeClr val="tx1"/>
                </a:solidFill>
              </a:rPr>
              <a:t>Mobile capacity</a:t>
            </a:r>
          </a:p>
        </p:txBody>
      </p:sp>
    </p:spTree>
    <p:extLst>
      <p:ext uri="{BB962C8B-B14F-4D97-AF65-F5344CB8AC3E}">
        <p14:creationId xmlns:p14="http://schemas.microsoft.com/office/powerpoint/2010/main" val="26744203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F0D3821-083B-27F6-AAE8-2816818497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95646" y="-125701"/>
            <a:ext cx="10515600" cy="1325563"/>
          </a:xfrm>
        </p:spPr>
        <p:txBody>
          <a:bodyPr/>
          <a:lstStyle/>
          <a:p>
            <a:pPr algn="ctr"/>
            <a:r>
              <a:rPr lang="en-US" sz="2400" b="1" dirty="0"/>
              <a:t>Model 1: Hub &amp; Spoke</a:t>
            </a: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AA1B9BD2-0A20-2598-431E-D6D7E8A5BA1E}"/>
              </a:ext>
            </a:extLst>
          </p:cNvPr>
          <p:cNvGrpSpPr/>
          <p:nvPr/>
        </p:nvGrpSpPr>
        <p:grpSpPr>
          <a:xfrm>
            <a:off x="-17533" y="1314143"/>
            <a:ext cx="5863580" cy="4789624"/>
            <a:chOff x="364422" y="985607"/>
            <a:chExt cx="4397685" cy="3592218"/>
          </a:xfrm>
        </p:grpSpPr>
        <p:pic>
          <p:nvPicPr>
            <p:cNvPr id="2" name="Picture 2" descr="dilii ">
              <a:extLst>
                <a:ext uri="{FF2B5EF4-FFF2-40B4-BE49-F238E27FC236}">
                  <a16:creationId xmlns:a16="http://schemas.microsoft.com/office/drawing/2014/main" id="{F0AC869B-8DE6-EA09-48FD-61B4435C6336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4308"/>
            <a:stretch/>
          </p:blipFill>
          <p:spPr bwMode="auto">
            <a:xfrm>
              <a:off x="364422" y="985608"/>
              <a:ext cx="4375629" cy="3592217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CE02E4BF-31BF-00E2-7F17-9E3154CDF110}"/>
                </a:ext>
              </a:extLst>
            </p:cNvPr>
            <p:cNvSpPr/>
            <p:nvPr/>
          </p:nvSpPr>
          <p:spPr>
            <a:xfrm>
              <a:off x="3360811" y="985607"/>
              <a:ext cx="1401296" cy="40523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C122C81A-40D2-2977-B8C1-5E6512C1492E}"/>
                </a:ext>
              </a:extLst>
            </p:cNvPr>
            <p:cNvSpPr txBox="1"/>
            <p:nvPr/>
          </p:nvSpPr>
          <p:spPr>
            <a:xfrm>
              <a:off x="3886300" y="1043573"/>
              <a:ext cx="555681" cy="300083"/>
            </a:xfrm>
            <a:prstGeom prst="rect">
              <a:avLst/>
            </a:prstGeom>
            <a:solidFill>
              <a:schemeClr val="bg1"/>
            </a:solidFill>
          </p:spPr>
          <p:txBody>
            <a:bodyPr wrap="none" rtlCol="0">
              <a:spAutoFit/>
            </a:bodyPr>
            <a:lstStyle/>
            <a:p>
              <a:r>
                <a:rPr lang="en-US" sz="2000" b="1" dirty="0">
                  <a:solidFill>
                    <a:schemeClr val="accent2">
                      <a:lumMod val="90000"/>
                      <a:lumOff val="10000"/>
                    </a:schemeClr>
                  </a:solidFill>
                </a:rPr>
                <a:t>SOC</a:t>
              </a:r>
            </a:p>
          </p:txBody>
        </p:sp>
        <p:sp>
          <p:nvSpPr>
            <p:cNvPr id="14" name="Rectangle: Rounded Corners 13">
              <a:extLst>
                <a:ext uri="{FF2B5EF4-FFF2-40B4-BE49-F238E27FC236}">
                  <a16:creationId xmlns:a16="http://schemas.microsoft.com/office/drawing/2014/main" id="{0478EFB3-97F1-0E07-0872-1B43B9316098}"/>
                </a:ext>
              </a:extLst>
            </p:cNvPr>
            <p:cNvSpPr/>
            <p:nvPr/>
          </p:nvSpPr>
          <p:spPr>
            <a:xfrm>
              <a:off x="3600900" y="1438578"/>
              <a:ext cx="1097280" cy="187241"/>
            </a:xfrm>
            <a:prstGeom prst="roundRect">
              <a:avLst/>
            </a:prstGeom>
            <a:solidFill>
              <a:schemeClr val="accent2">
                <a:lumMod val="90000"/>
                <a:lumOff val="10000"/>
              </a:schemeClr>
            </a:solidFill>
            <a:ln>
              <a:solidFill>
                <a:schemeClr val="accent2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1" b="1">
                  <a:latin typeface="+mj-lt"/>
                </a:rPr>
                <a:t>Resection</a:t>
              </a:r>
            </a:p>
          </p:txBody>
        </p:sp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95F35581-71FC-D98E-DAD6-E74A79CD178E}"/>
                </a:ext>
              </a:extLst>
            </p:cNvPr>
            <p:cNvSpPr/>
            <p:nvPr/>
          </p:nvSpPr>
          <p:spPr>
            <a:xfrm>
              <a:off x="3596447" y="2162917"/>
              <a:ext cx="1097280" cy="1108139"/>
            </a:xfrm>
            <a:prstGeom prst="roundRect">
              <a:avLst/>
            </a:prstGeom>
            <a:solidFill>
              <a:schemeClr val="accent2">
                <a:lumMod val="90000"/>
                <a:lumOff val="10000"/>
              </a:schemeClr>
            </a:solidFill>
            <a:ln>
              <a:solidFill>
                <a:schemeClr val="accent2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1" b="1">
                  <a:latin typeface="+mj-lt"/>
                </a:rPr>
                <a:t>ACT</a:t>
              </a:r>
            </a:p>
            <a:p>
              <a:pPr algn="ctr"/>
              <a:endParaRPr lang="en-US" sz="1051" b="1">
                <a:latin typeface="+mj-lt"/>
              </a:endParaRPr>
            </a:p>
            <a:p>
              <a:pPr algn="ctr"/>
              <a:r>
                <a:rPr lang="en-US" sz="900">
                  <a:latin typeface="+mj-lt"/>
                </a:rPr>
                <a:t>(start ≤8 weeks</a:t>
              </a:r>
            </a:p>
            <a:p>
              <a:pPr algn="ctr"/>
              <a:r>
                <a:rPr lang="en-US" sz="900">
                  <a:latin typeface="+mj-lt"/>
                </a:rPr>
                <a:t>post surgery)</a:t>
              </a:r>
            </a:p>
            <a:p>
              <a:pPr algn="ctr"/>
              <a:endParaRPr lang="en-US" sz="900">
                <a:latin typeface="+mj-lt"/>
              </a:endParaRPr>
            </a:p>
            <a:p>
              <a:pPr algn="ctr"/>
              <a:endParaRPr lang="en-US" sz="900">
                <a:latin typeface="+mj-lt"/>
              </a:endParaRPr>
            </a:p>
            <a:p>
              <a:pPr algn="ctr"/>
              <a:endParaRPr lang="en-US" sz="900">
                <a:latin typeface="+mj-lt"/>
              </a:endParaRPr>
            </a:p>
          </p:txBody>
        </p:sp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64EFAED3-3095-506A-CE08-3AD35283911F}"/>
                </a:ext>
              </a:extLst>
            </p:cNvPr>
            <p:cNvSpPr/>
            <p:nvPr/>
          </p:nvSpPr>
          <p:spPr>
            <a:xfrm>
              <a:off x="3596447" y="1664087"/>
              <a:ext cx="1097280" cy="453966"/>
            </a:xfrm>
            <a:prstGeom prst="roundRect">
              <a:avLst/>
            </a:prstGeom>
            <a:solidFill>
              <a:schemeClr val="accent2">
                <a:lumMod val="75000"/>
                <a:lumOff val="25000"/>
              </a:schemeClr>
            </a:solidFill>
            <a:ln>
              <a:solidFill>
                <a:schemeClr val="accent2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1" b="1">
                  <a:latin typeface="+mj-lt"/>
                </a:rPr>
                <a:t>Recovery from surgery</a:t>
              </a:r>
            </a:p>
          </p:txBody>
        </p:sp>
        <p:sp>
          <p:nvSpPr>
            <p:cNvPr id="18" name="Rectangle: Rounded Corners 17">
              <a:extLst>
                <a:ext uri="{FF2B5EF4-FFF2-40B4-BE49-F238E27FC236}">
                  <a16:creationId xmlns:a16="http://schemas.microsoft.com/office/drawing/2014/main" id="{D31BEF13-6C93-63D5-70CC-E5AFCD8779C6}"/>
                </a:ext>
              </a:extLst>
            </p:cNvPr>
            <p:cNvSpPr/>
            <p:nvPr/>
          </p:nvSpPr>
          <p:spPr>
            <a:xfrm>
              <a:off x="3596447" y="3310973"/>
              <a:ext cx="1097280" cy="678425"/>
            </a:xfrm>
            <a:prstGeom prst="roundRect">
              <a:avLst/>
            </a:prstGeom>
            <a:solidFill>
              <a:schemeClr val="accent2">
                <a:lumMod val="75000"/>
                <a:lumOff val="25000"/>
              </a:schemeClr>
            </a:solidFill>
            <a:ln>
              <a:solidFill>
                <a:schemeClr val="accent2">
                  <a:lumMod val="90000"/>
                  <a:lumOff val="1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51" b="1" dirty="0">
                  <a:latin typeface="+mj-lt"/>
                </a:rPr>
                <a:t>Recovery from ACT</a:t>
              </a:r>
            </a:p>
          </p:txBody>
        </p:sp>
        <p:sp>
          <p:nvSpPr>
            <p:cNvPr id="19" name="Rectangle: Rounded Corners 18">
              <a:extLst>
                <a:ext uri="{FF2B5EF4-FFF2-40B4-BE49-F238E27FC236}">
                  <a16:creationId xmlns:a16="http://schemas.microsoft.com/office/drawing/2014/main" id="{7C5EEDF6-5D64-D1A1-6913-1937EEFE16FE}"/>
                </a:ext>
              </a:extLst>
            </p:cNvPr>
            <p:cNvSpPr/>
            <p:nvPr/>
          </p:nvSpPr>
          <p:spPr>
            <a:xfrm>
              <a:off x="400690" y="4165944"/>
              <a:ext cx="3042119" cy="394467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005A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>
                  <a:solidFill>
                    <a:srgbClr val="000000"/>
                  </a:solidFill>
                </a:rPr>
                <a:t>Randomization</a:t>
              </a:r>
            </a:p>
            <a:p>
              <a:pPr algn="ctr"/>
              <a:r>
                <a:rPr lang="en-US" sz="1000">
                  <a:solidFill>
                    <a:srgbClr val="000000"/>
                  </a:solidFill>
                </a:rPr>
                <a:t>2-7 weeks after final ACT dose, and 7 days prior to planned first dose of RO7198457</a:t>
              </a:r>
            </a:p>
          </p:txBody>
        </p:sp>
        <p:sp>
          <p:nvSpPr>
            <p:cNvPr id="20" name="Rectangle: Rounded Corners 19">
              <a:extLst>
                <a:ext uri="{FF2B5EF4-FFF2-40B4-BE49-F238E27FC236}">
                  <a16:creationId xmlns:a16="http://schemas.microsoft.com/office/drawing/2014/main" id="{C399342F-81F2-9F45-1112-953BA265E5B6}"/>
                </a:ext>
              </a:extLst>
            </p:cNvPr>
            <p:cNvSpPr/>
            <p:nvPr/>
          </p:nvSpPr>
          <p:spPr>
            <a:xfrm>
              <a:off x="400689" y="1610910"/>
              <a:ext cx="3042119" cy="846035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005A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 dirty="0">
                  <a:solidFill>
                    <a:srgbClr val="000000"/>
                  </a:solidFill>
                </a:rPr>
                <a:t>Screening 1 (ctDNA post-surgery)</a:t>
              </a:r>
            </a:p>
            <a:p>
              <a:pPr marL="171446" indent="-171446" algn="ctr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rgbClr val="000000"/>
                  </a:solidFill>
                </a:rPr>
                <a:t>Limited eligibility review</a:t>
              </a:r>
            </a:p>
            <a:p>
              <a:pPr marL="171446" indent="-171446" algn="ctr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rgbClr val="000000"/>
                  </a:solidFill>
                </a:rPr>
                <a:t>ctDNA blood sample collection 4-8 weeks after surgery, but within 7 days prior first dose of ACT</a:t>
              </a:r>
            </a:p>
            <a:p>
              <a:pPr marL="171446" indent="-171446" algn="ctr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rgbClr val="000000"/>
                  </a:solidFill>
                </a:rPr>
                <a:t>Tumor tissue collection</a:t>
              </a:r>
            </a:p>
            <a:p>
              <a:pPr marL="171446" indent="-171446" algn="ctr">
                <a:buFont typeface="Arial" panose="020B0604020202020204" pitchFamily="34" charset="0"/>
                <a:buChar char="•"/>
              </a:pPr>
              <a:r>
                <a:rPr lang="en-US" sz="1000" dirty="0">
                  <a:solidFill>
                    <a:srgbClr val="000000"/>
                  </a:solidFill>
                </a:rPr>
                <a:t>Only ctDNA+ patients enter screening 2</a:t>
              </a:r>
            </a:p>
          </p:txBody>
        </p:sp>
        <p:sp>
          <p:nvSpPr>
            <p:cNvPr id="21" name="Rectangle: Rounded Corners 20">
              <a:extLst>
                <a:ext uri="{FF2B5EF4-FFF2-40B4-BE49-F238E27FC236}">
                  <a16:creationId xmlns:a16="http://schemas.microsoft.com/office/drawing/2014/main" id="{314A05B1-76C4-A001-5026-525A7E5CB85A}"/>
                </a:ext>
              </a:extLst>
            </p:cNvPr>
            <p:cNvSpPr/>
            <p:nvPr/>
          </p:nvSpPr>
          <p:spPr>
            <a:xfrm>
              <a:off x="400689" y="2676749"/>
              <a:ext cx="3042119" cy="678425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005A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>
                  <a:solidFill>
                    <a:srgbClr val="000000"/>
                  </a:solidFill>
                </a:rPr>
                <a:t>Screening 2 (neoantigen selection)</a:t>
              </a:r>
            </a:p>
            <a:p>
              <a:pPr marL="171446" indent="-171446" algn="ctr">
                <a:buFont typeface="Arial" panose="020B0604020202020204" pitchFamily="34" charset="0"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Tumor + blood sample for vaccine manufacture</a:t>
              </a:r>
            </a:p>
            <a:p>
              <a:pPr marL="171446" indent="-171446" algn="ctr">
                <a:buFont typeface="Arial" panose="020B0604020202020204" pitchFamily="34" charset="0"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Screening beings latest 14 days prior to final ACT dose</a:t>
              </a:r>
            </a:p>
          </p:txBody>
        </p:sp>
        <p:sp>
          <p:nvSpPr>
            <p:cNvPr id="22" name="Rectangle: Rounded Corners 21">
              <a:extLst>
                <a:ext uri="{FF2B5EF4-FFF2-40B4-BE49-F238E27FC236}">
                  <a16:creationId xmlns:a16="http://schemas.microsoft.com/office/drawing/2014/main" id="{AA4960E9-D110-9226-FE21-3FCB34A20E02}"/>
                </a:ext>
              </a:extLst>
            </p:cNvPr>
            <p:cNvSpPr/>
            <p:nvPr/>
          </p:nvSpPr>
          <p:spPr>
            <a:xfrm>
              <a:off x="400689" y="3465711"/>
              <a:ext cx="3042119" cy="530625"/>
            </a:xfrm>
            <a:prstGeom prst="roundRect">
              <a:avLst/>
            </a:prstGeom>
            <a:solidFill>
              <a:schemeClr val="bg1"/>
            </a:solidFill>
            <a:ln>
              <a:solidFill>
                <a:srgbClr val="005A6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00" b="1">
                  <a:solidFill>
                    <a:srgbClr val="000000"/>
                  </a:solidFill>
                </a:rPr>
                <a:t>Screening 3 (Eligibility confirmation)</a:t>
              </a:r>
            </a:p>
            <a:p>
              <a:pPr marL="171446" indent="-171446" algn="ctr">
                <a:buFont typeface="Arial" panose="020B0604020202020204" pitchFamily="34" charset="0"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Begins 14 days after final ACT dose</a:t>
              </a:r>
            </a:p>
            <a:p>
              <a:pPr marL="171446" indent="-171446" algn="ctr">
                <a:buFont typeface="Arial" panose="020B0604020202020204" pitchFamily="34" charset="0"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Eligibility incl. CT scan</a:t>
              </a:r>
            </a:p>
            <a:p>
              <a:pPr marL="171446" indent="-171446" algn="ctr">
                <a:buFont typeface="Arial" panose="020B0604020202020204" pitchFamily="34" charset="0"/>
                <a:buChar char="•"/>
              </a:pPr>
              <a:r>
                <a:rPr lang="en-US" sz="1000">
                  <a:solidFill>
                    <a:srgbClr val="000000"/>
                  </a:solidFill>
                </a:rPr>
                <a:t>Safety labs</a:t>
              </a:r>
            </a:p>
          </p:txBody>
        </p:sp>
      </p:grpSp>
      <p:sp>
        <p:nvSpPr>
          <p:cNvPr id="10" name="Foliennummernplatzhalter 2">
            <a:extLst>
              <a:ext uri="{FF2B5EF4-FFF2-40B4-BE49-F238E27FC236}">
                <a16:creationId xmlns:a16="http://schemas.microsoft.com/office/drawing/2014/main" id="{6366BB58-6D32-19EB-6BA4-A929C3E503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98358069-37E3-ED4E-A203-67995E824B8A}" type="slidenum">
              <a:rPr lang="en-US" smtClean="0"/>
              <a:pPr/>
              <a:t>14</a:t>
            </a:fld>
            <a:endParaRPr lang="en-GB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3F454287-15F7-B4F6-516D-86C335202862}"/>
              </a:ext>
            </a:extLst>
          </p:cNvPr>
          <p:cNvSpPr txBox="1"/>
          <p:nvPr/>
        </p:nvSpPr>
        <p:spPr>
          <a:xfrm>
            <a:off x="1315962" y="1399404"/>
            <a:ext cx="1425390" cy="400110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n-US" sz="2000" b="1">
                <a:solidFill>
                  <a:schemeClr val="accent2">
                    <a:lumMod val="90000"/>
                    <a:lumOff val="10000"/>
                  </a:schemeClr>
                </a:solidFill>
              </a:rPr>
              <a:t>Screening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48C8F036-29A9-C74F-5C3A-25A9FD780800}"/>
              </a:ext>
            </a:extLst>
          </p:cNvPr>
          <p:cNvGrpSpPr/>
          <p:nvPr/>
        </p:nvGrpSpPr>
        <p:grpSpPr>
          <a:xfrm>
            <a:off x="5864995" y="1070615"/>
            <a:ext cx="6245055" cy="5468297"/>
            <a:chOff x="5863503" y="1314144"/>
            <a:chExt cx="6245055" cy="5468297"/>
          </a:xfrm>
        </p:grpSpPr>
        <p:sp>
          <p:nvSpPr>
            <p:cNvPr id="34" name="Rectangle 33">
              <a:extLst>
                <a:ext uri="{FF2B5EF4-FFF2-40B4-BE49-F238E27FC236}">
                  <a16:creationId xmlns:a16="http://schemas.microsoft.com/office/drawing/2014/main" id="{F761808E-7B46-4FF3-375D-F9ED0C0357E9}"/>
                </a:ext>
              </a:extLst>
            </p:cNvPr>
            <p:cNvSpPr/>
            <p:nvPr/>
          </p:nvSpPr>
          <p:spPr>
            <a:xfrm>
              <a:off x="5863503" y="1314144"/>
              <a:ext cx="6245055" cy="5468297"/>
            </a:xfrm>
            <a:prstGeom prst="rect">
              <a:avLst/>
            </a:prstGeom>
            <a:solidFill>
              <a:srgbClr val="3C9673">
                <a:alpha val="18824"/>
              </a:srgbClr>
            </a:solidFill>
            <a:ln>
              <a:solidFill>
                <a:schemeClr val="tx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b" anchorCtr="0"/>
            <a:lstStyle/>
            <a:p>
              <a:endParaRPr lang="en-US" sz="1600" dirty="0">
                <a:solidFill>
                  <a:schemeClr val="tx1"/>
                </a:solidFill>
              </a:endParaRPr>
            </a:p>
          </p:txBody>
        </p:sp>
        <p:cxnSp>
          <p:nvCxnSpPr>
            <p:cNvPr id="28" name="Straight Arrow Connector 27">
              <a:extLst>
                <a:ext uri="{FF2B5EF4-FFF2-40B4-BE49-F238E27FC236}">
                  <a16:creationId xmlns:a16="http://schemas.microsoft.com/office/drawing/2014/main" id="{F2FD6A59-260B-C7C7-211C-F711BC62D52B}"/>
                </a:ext>
              </a:extLst>
            </p:cNvPr>
            <p:cNvCxnSpPr>
              <a:cxnSpLocks/>
              <a:stCxn id="24" idx="2"/>
            </p:cNvCxnSpPr>
            <p:nvPr/>
          </p:nvCxnSpPr>
          <p:spPr>
            <a:xfrm>
              <a:off x="6586637" y="4995275"/>
              <a:ext cx="8488" cy="701893"/>
            </a:xfrm>
            <a:prstGeom prst="straightConnector1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27" name="Straight Arrow Connector 26">
              <a:extLst>
                <a:ext uri="{FF2B5EF4-FFF2-40B4-BE49-F238E27FC236}">
                  <a16:creationId xmlns:a16="http://schemas.microsoft.com/office/drawing/2014/main" id="{718BAA48-92EB-418F-B58C-1943D766D22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594914" y="1771791"/>
              <a:ext cx="1" cy="2849157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6" name="TextBox 5">
              <a:extLst>
                <a:ext uri="{FF2B5EF4-FFF2-40B4-BE49-F238E27FC236}">
                  <a16:creationId xmlns:a16="http://schemas.microsoft.com/office/drawing/2014/main" id="{E8CA60D8-08F6-D472-9F51-B899C6BE0C59}"/>
                </a:ext>
              </a:extLst>
            </p:cNvPr>
            <p:cNvSpPr txBox="1"/>
            <p:nvPr/>
          </p:nvSpPr>
          <p:spPr>
            <a:xfrm>
              <a:off x="5940703" y="1371681"/>
              <a:ext cx="1349404" cy="292388"/>
            </a:xfrm>
            <a:prstGeom prst="rect">
              <a:avLst/>
            </a:prstGeom>
            <a:solidFill>
              <a:srgbClr val="FF9D9D"/>
            </a:solidFill>
            <a:ln>
              <a:solidFill>
                <a:srgbClr val="FF9D9D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00" b="1" dirty="0"/>
                <a:t>DGH (Level 1)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1237E433-803D-4AB7-9758-E0C262A146F3}"/>
                </a:ext>
              </a:extLst>
            </p:cNvPr>
            <p:cNvSpPr txBox="1"/>
            <p:nvPr/>
          </p:nvSpPr>
          <p:spPr>
            <a:xfrm>
              <a:off x="7331654" y="1371682"/>
              <a:ext cx="1920621" cy="292388"/>
            </a:xfrm>
            <a:prstGeom prst="rect">
              <a:avLst/>
            </a:prstGeom>
            <a:solidFill>
              <a:srgbClr val="C8AFDA"/>
            </a:solidFill>
            <a:ln>
              <a:solidFill>
                <a:srgbClr val="C8AFDA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300" b="1" dirty="0"/>
                <a:t>Trial Unit (Level 2)</a:t>
              </a:r>
            </a:p>
          </p:txBody>
        </p:sp>
        <p:sp>
          <p:nvSpPr>
            <p:cNvPr id="9" name="Rounded Rectangle 30">
              <a:extLst>
                <a:ext uri="{FF2B5EF4-FFF2-40B4-BE49-F238E27FC236}">
                  <a16:creationId xmlns:a16="http://schemas.microsoft.com/office/drawing/2014/main" id="{B089C0D8-7982-7A66-A4E6-BFB467C66BE7}"/>
                </a:ext>
              </a:extLst>
            </p:cNvPr>
            <p:cNvSpPr/>
            <p:nvPr/>
          </p:nvSpPr>
          <p:spPr>
            <a:xfrm>
              <a:off x="6281837" y="1862728"/>
              <a:ext cx="609600" cy="285153"/>
            </a:xfrm>
            <a:prstGeom prst="roundRect">
              <a:avLst/>
            </a:prstGeom>
            <a:solidFill>
              <a:srgbClr val="7030A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33"/>
                <a:t>ICF-1</a:t>
              </a:r>
            </a:p>
          </p:txBody>
        </p:sp>
        <p:sp>
          <p:nvSpPr>
            <p:cNvPr id="11" name="Rounded Rectangle 30">
              <a:extLst>
                <a:ext uri="{FF2B5EF4-FFF2-40B4-BE49-F238E27FC236}">
                  <a16:creationId xmlns:a16="http://schemas.microsoft.com/office/drawing/2014/main" id="{11EB4DA1-0998-9017-58A1-04FE893E5F0F}"/>
                </a:ext>
              </a:extLst>
            </p:cNvPr>
            <p:cNvSpPr/>
            <p:nvPr/>
          </p:nvSpPr>
          <p:spPr>
            <a:xfrm>
              <a:off x="6281837" y="2254682"/>
              <a:ext cx="609600" cy="285153"/>
            </a:xfrm>
            <a:prstGeom prst="roundRect">
              <a:avLst/>
            </a:prstGeom>
            <a:solidFill>
              <a:srgbClr val="7030A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/>
                <a:t>SCR-1</a:t>
              </a:r>
            </a:p>
          </p:txBody>
        </p:sp>
        <p:sp>
          <p:nvSpPr>
            <p:cNvPr id="16" name="Rounded Rectangle 30">
              <a:extLst>
                <a:ext uri="{FF2B5EF4-FFF2-40B4-BE49-F238E27FC236}">
                  <a16:creationId xmlns:a16="http://schemas.microsoft.com/office/drawing/2014/main" id="{E1B69A58-EF5D-E110-8C65-CE5DA8BB24AD}"/>
                </a:ext>
              </a:extLst>
            </p:cNvPr>
            <p:cNvSpPr/>
            <p:nvPr/>
          </p:nvSpPr>
          <p:spPr>
            <a:xfrm>
              <a:off x="6281837" y="3275928"/>
              <a:ext cx="609600" cy="285153"/>
            </a:xfrm>
            <a:prstGeom prst="roundRect">
              <a:avLst/>
            </a:prstGeom>
            <a:solidFill>
              <a:srgbClr val="7030A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933"/>
                <a:t>ICF-2</a:t>
              </a:r>
            </a:p>
          </p:txBody>
        </p:sp>
        <p:sp>
          <p:nvSpPr>
            <p:cNvPr id="23" name="Rounded Rectangle 30">
              <a:extLst>
                <a:ext uri="{FF2B5EF4-FFF2-40B4-BE49-F238E27FC236}">
                  <a16:creationId xmlns:a16="http://schemas.microsoft.com/office/drawing/2014/main" id="{F9D4C67A-ABAF-4DFB-79B8-D4655F6D1EAE}"/>
                </a:ext>
              </a:extLst>
            </p:cNvPr>
            <p:cNvSpPr/>
            <p:nvPr/>
          </p:nvSpPr>
          <p:spPr>
            <a:xfrm>
              <a:off x="6281837" y="3672062"/>
              <a:ext cx="609600" cy="285153"/>
            </a:xfrm>
            <a:prstGeom prst="roundRect">
              <a:avLst/>
            </a:prstGeom>
            <a:solidFill>
              <a:srgbClr val="7030A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/>
                <a:t>SCR-2</a:t>
              </a:r>
            </a:p>
          </p:txBody>
        </p:sp>
        <p:sp>
          <p:nvSpPr>
            <p:cNvPr id="24" name="Rounded Rectangle 30">
              <a:extLst>
                <a:ext uri="{FF2B5EF4-FFF2-40B4-BE49-F238E27FC236}">
                  <a16:creationId xmlns:a16="http://schemas.microsoft.com/office/drawing/2014/main" id="{AC79BE08-7230-D749-A424-AE55889D4F7E}"/>
                </a:ext>
              </a:extLst>
            </p:cNvPr>
            <p:cNvSpPr/>
            <p:nvPr/>
          </p:nvSpPr>
          <p:spPr>
            <a:xfrm>
              <a:off x="6281837" y="4710122"/>
              <a:ext cx="609600" cy="285153"/>
            </a:xfrm>
            <a:prstGeom prst="roundRect">
              <a:avLst/>
            </a:prstGeom>
            <a:solidFill>
              <a:srgbClr val="7030A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/>
                <a:t>SCR-3</a:t>
              </a:r>
            </a:p>
          </p:txBody>
        </p: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1627A489-CA21-E033-E4FD-27C98AA00B15}"/>
                </a:ext>
              </a:extLst>
            </p:cNvPr>
            <p:cNvCxnSpPr>
              <a:cxnSpLocks/>
            </p:cNvCxnSpPr>
            <p:nvPr/>
          </p:nvCxnSpPr>
          <p:spPr>
            <a:xfrm rot="16200000" flipH="1">
              <a:off x="7341630" y="4909655"/>
              <a:ext cx="1" cy="1554480"/>
            </a:xfrm>
            <a:prstGeom prst="straightConnector1">
              <a:avLst/>
            </a:prstGeom>
            <a:ln>
              <a:headEnd type="none" w="med" len="med"/>
              <a:tailEnd type="none" w="med" len="med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cxnSp>
          <p:nvCxnSpPr>
            <p:cNvPr id="35" name="Straight Arrow Connector 34">
              <a:extLst>
                <a:ext uri="{FF2B5EF4-FFF2-40B4-BE49-F238E27FC236}">
                  <a16:creationId xmlns:a16="http://schemas.microsoft.com/office/drawing/2014/main" id="{6FEFBB15-0D53-210D-8190-59D59EFB6842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8121366" y="5693273"/>
              <a:ext cx="1" cy="36576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7F56332F-07B8-D8BF-59CA-00B9093EE61F}"/>
                </a:ext>
              </a:extLst>
            </p:cNvPr>
            <p:cNvSpPr txBox="1"/>
            <p:nvPr/>
          </p:nvSpPr>
          <p:spPr>
            <a:xfrm>
              <a:off x="7378393" y="1800088"/>
              <a:ext cx="1480956" cy="93871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pPr algn="ctr"/>
              <a:r>
                <a:rPr lang="en-US" sz="1100" i="1" dirty="0"/>
                <a:t>Level 2 site functions solely as IMP focused site for patients randomized to IMP</a:t>
              </a:r>
            </a:p>
          </p:txBody>
        </p:sp>
        <p:sp>
          <p:nvSpPr>
            <p:cNvPr id="40" name="Rounded Rectangle 30">
              <a:extLst>
                <a:ext uri="{FF2B5EF4-FFF2-40B4-BE49-F238E27FC236}">
                  <a16:creationId xmlns:a16="http://schemas.microsoft.com/office/drawing/2014/main" id="{4B495463-F8F9-4F50-28D0-FC0784A47E0F}"/>
                </a:ext>
              </a:extLst>
            </p:cNvPr>
            <p:cNvSpPr/>
            <p:nvPr/>
          </p:nvSpPr>
          <p:spPr>
            <a:xfrm>
              <a:off x="7491582" y="6102192"/>
              <a:ext cx="1219200" cy="285153"/>
            </a:xfrm>
            <a:prstGeom prst="roundRect">
              <a:avLst/>
            </a:prstGeom>
            <a:solidFill>
              <a:srgbClr val="7030A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67"/>
                <a:t>Intervention</a:t>
              </a:r>
            </a:p>
          </p:txBody>
        </p:sp>
        <p:sp>
          <p:nvSpPr>
            <p:cNvPr id="41" name="Rounded Rectangle 30">
              <a:extLst>
                <a:ext uri="{FF2B5EF4-FFF2-40B4-BE49-F238E27FC236}">
                  <a16:creationId xmlns:a16="http://schemas.microsoft.com/office/drawing/2014/main" id="{06A17351-BED9-ABA4-FF5A-A4B0F8D8C7C7}"/>
                </a:ext>
              </a:extLst>
            </p:cNvPr>
            <p:cNvSpPr/>
            <p:nvPr/>
          </p:nvSpPr>
          <p:spPr>
            <a:xfrm>
              <a:off x="6005804" y="6131665"/>
              <a:ext cx="1219200" cy="285153"/>
            </a:xfrm>
            <a:prstGeom prst="roundRect">
              <a:avLst/>
            </a:prstGeom>
            <a:solidFill>
              <a:srgbClr val="7030A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067"/>
                <a:t>Observation</a:t>
              </a:r>
            </a:p>
          </p:txBody>
        </p:sp>
        <p:cxnSp>
          <p:nvCxnSpPr>
            <p:cNvPr id="42" name="Straight Arrow Connector 41">
              <a:extLst>
                <a:ext uri="{FF2B5EF4-FFF2-40B4-BE49-F238E27FC236}">
                  <a16:creationId xmlns:a16="http://schemas.microsoft.com/office/drawing/2014/main" id="{C2DDB725-AFEF-1B07-5D5D-6FDD7F44AF3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6586637" y="5721757"/>
              <a:ext cx="1" cy="365760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dk1"/>
            </a:lnRef>
            <a:fillRef idx="0">
              <a:schemeClr val="dk1"/>
            </a:fillRef>
            <a:effectRef idx="0">
              <a:schemeClr val="dk1"/>
            </a:effectRef>
            <a:fontRef idx="minor">
              <a:schemeClr val="tx1"/>
            </a:fontRef>
          </p:style>
        </p:cxnSp>
        <p:sp>
          <p:nvSpPr>
            <p:cNvPr id="25" name="Rounded Rectangle 30">
              <a:extLst>
                <a:ext uri="{FF2B5EF4-FFF2-40B4-BE49-F238E27FC236}">
                  <a16:creationId xmlns:a16="http://schemas.microsoft.com/office/drawing/2014/main" id="{321969B4-A2EA-F95B-1812-E2EF1D970F79}"/>
                </a:ext>
              </a:extLst>
            </p:cNvPr>
            <p:cNvSpPr/>
            <p:nvPr/>
          </p:nvSpPr>
          <p:spPr>
            <a:xfrm>
              <a:off x="6281837" y="5589032"/>
              <a:ext cx="609600" cy="285153"/>
            </a:xfrm>
            <a:prstGeom prst="roundRect">
              <a:avLst/>
            </a:prstGeom>
            <a:solidFill>
              <a:srgbClr val="7030A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800"/>
                <a:t>R (1:1)</a:t>
              </a:r>
            </a:p>
          </p:txBody>
        </p:sp>
        <p:pic>
          <p:nvPicPr>
            <p:cNvPr id="7" name="Picture 6" descr="Graphical user interface, application, Word, PowerPoint&#10;&#10;Description automatically generated">
              <a:extLst>
                <a:ext uri="{FF2B5EF4-FFF2-40B4-BE49-F238E27FC236}">
                  <a16:creationId xmlns:a16="http://schemas.microsoft.com/office/drawing/2014/main" id="{7FEE77AB-92F7-C572-A464-D621D94B288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8903" t="40720" r="5323" b="17023"/>
            <a:stretch/>
          </p:blipFill>
          <p:spPr>
            <a:xfrm>
              <a:off x="8059255" y="2693160"/>
              <a:ext cx="3745558" cy="2765176"/>
            </a:xfrm>
            <a:prstGeom prst="rect">
              <a:avLst/>
            </a:prstGeom>
          </p:spPr>
        </p:pic>
      </p:grpSp>
      <p:pic>
        <p:nvPicPr>
          <p:cNvPr id="4" name="Picture 3">
            <a:extLst>
              <a:ext uri="{FF2B5EF4-FFF2-40B4-BE49-F238E27FC236}">
                <a16:creationId xmlns:a16="http://schemas.microsoft.com/office/drawing/2014/main" id="{657C4E73-E8FD-58DD-CC7E-BA5AC0BD59E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885" y="96003"/>
            <a:ext cx="1248173" cy="1160721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D8B9FE5A-44C1-5CA7-8994-C2B48BDD2BF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0878" y="95029"/>
            <a:ext cx="1293025" cy="1202430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9119814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0341B94A-0438-2983-BD96-95B7CC4B4C64}"/>
              </a:ext>
            </a:extLst>
          </p:cNvPr>
          <p:cNvCxnSpPr>
            <a:cxnSpLocks/>
            <a:endCxn id="13" idx="1"/>
          </p:cNvCxnSpPr>
          <p:nvPr/>
        </p:nvCxnSpPr>
        <p:spPr>
          <a:xfrm>
            <a:off x="7648171" y="2686832"/>
            <a:ext cx="3259122" cy="557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46AA9211-32E8-AA76-C3C6-A71DA858964F}"/>
              </a:ext>
            </a:extLst>
          </p:cNvPr>
          <p:cNvSpPr/>
          <p:nvPr/>
        </p:nvSpPr>
        <p:spPr>
          <a:xfrm>
            <a:off x="1109715" y="2289568"/>
            <a:ext cx="1408765" cy="82973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/>
              <a:t>Colorectal surgery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60C0937E-3F4E-8965-C059-95127BFA0B7E}"/>
              </a:ext>
            </a:extLst>
          </p:cNvPr>
          <p:cNvSpPr/>
          <p:nvPr/>
        </p:nvSpPr>
        <p:spPr>
          <a:xfrm>
            <a:off x="2769937" y="2288677"/>
            <a:ext cx="1280695" cy="82973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/>
              <a:t>Colorectal</a:t>
            </a:r>
          </a:p>
          <a:p>
            <a:pPr algn="ctr"/>
            <a:r>
              <a:rPr lang="en-US" sz="1500" dirty="0"/>
              <a:t>OPD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D6BDCAF6-D57E-9534-29FF-E2E39082E63A}"/>
              </a:ext>
            </a:extLst>
          </p:cNvPr>
          <p:cNvSpPr/>
          <p:nvPr/>
        </p:nvSpPr>
        <p:spPr>
          <a:xfrm>
            <a:off x="6591967" y="2288677"/>
            <a:ext cx="1280695" cy="82973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/>
              <a:t>Oncology</a:t>
            </a:r>
          </a:p>
          <a:p>
            <a:pPr algn="ctr"/>
            <a:r>
              <a:rPr lang="en-US" sz="1500" dirty="0"/>
              <a:t>OPD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6DFD5F3-389F-0F16-0C86-8A91D6E19794}"/>
              </a:ext>
            </a:extLst>
          </p:cNvPr>
          <p:cNvSpPr/>
          <p:nvPr/>
        </p:nvSpPr>
        <p:spPr>
          <a:xfrm rot="16200000">
            <a:off x="7716813" y="2449209"/>
            <a:ext cx="840875" cy="497527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/>
              <a:t>PIS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D57895E1-05E7-44F0-5CB0-223D85F7C192}"/>
              </a:ext>
            </a:extLst>
          </p:cNvPr>
          <p:cNvSpPr/>
          <p:nvPr/>
        </p:nvSpPr>
        <p:spPr>
          <a:xfrm>
            <a:off x="10907293" y="2277536"/>
            <a:ext cx="1280695" cy="829734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Adjuvant chemo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6B1FB41C-DA48-3AF6-1847-2A92773C4C8E}"/>
              </a:ext>
            </a:extLst>
          </p:cNvPr>
          <p:cNvSpPr/>
          <p:nvPr/>
        </p:nvSpPr>
        <p:spPr>
          <a:xfrm rot="16200000">
            <a:off x="8479151" y="2453382"/>
            <a:ext cx="952941" cy="497527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/>
              <a:t>Contact</a:t>
            </a:r>
          </a:p>
        </p:txBody>
      </p:sp>
      <p:sp>
        <p:nvSpPr>
          <p:cNvPr id="15" name="Rounded Rectangle 14">
            <a:extLst>
              <a:ext uri="{FF2B5EF4-FFF2-40B4-BE49-F238E27FC236}">
                <a16:creationId xmlns:a16="http://schemas.microsoft.com/office/drawing/2014/main" id="{08BA29DE-C972-3070-287F-29214B5DF6CB}"/>
              </a:ext>
            </a:extLst>
          </p:cNvPr>
          <p:cNvSpPr/>
          <p:nvPr/>
        </p:nvSpPr>
        <p:spPr>
          <a:xfrm rot="16200000">
            <a:off x="9220768" y="2446597"/>
            <a:ext cx="964085" cy="497527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/>
              <a:t>Consent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71183BE4-A6FE-9B04-F5D3-04E3C5106636}"/>
              </a:ext>
            </a:extLst>
          </p:cNvPr>
          <p:cNvSpPr/>
          <p:nvPr/>
        </p:nvSpPr>
        <p:spPr>
          <a:xfrm rot="16200000">
            <a:off x="9780798" y="2471492"/>
            <a:ext cx="840875" cy="497527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/>
              <a:t>ctDNA</a:t>
            </a: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CB62586A-4156-8AF9-032D-012A093CECE5}"/>
              </a:ext>
            </a:extLst>
          </p:cNvPr>
          <p:cNvCxnSpPr>
            <a:stCxn id="4" idx="3"/>
            <a:endCxn id="7" idx="1"/>
          </p:cNvCxnSpPr>
          <p:nvPr/>
        </p:nvCxnSpPr>
        <p:spPr>
          <a:xfrm flipV="1">
            <a:off x="2518480" y="2703544"/>
            <a:ext cx="251457" cy="891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BAA5E14B-8E46-5DB5-10E8-F8E4185E0BC4}"/>
              </a:ext>
            </a:extLst>
          </p:cNvPr>
          <p:cNvCxnSpPr>
            <a:cxnSpLocks/>
            <a:stCxn id="7" idx="3"/>
            <a:endCxn id="8" idx="1"/>
          </p:cNvCxnSpPr>
          <p:nvPr/>
        </p:nvCxnSpPr>
        <p:spPr>
          <a:xfrm>
            <a:off x="4050632" y="2703544"/>
            <a:ext cx="2541335" cy="0"/>
          </a:xfrm>
          <a:prstGeom prst="straightConnector1">
            <a:avLst/>
          </a:prstGeom>
          <a:ln w="3810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421B43E4-BF1F-BD18-41BE-E448A4E42C75}"/>
              </a:ext>
            </a:extLst>
          </p:cNvPr>
          <p:cNvCxnSpPr>
            <a:cxnSpLocks/>
          </p:cNvCxnSpPr>
          <p:nvPr/>
        </p:nvCxnSpPr>
        <p:spPr>
          <a:xfrm>
            <a:off x="4752474" y="1251287"/>
            <a:ext cx="0" cy="5606713"/>
          </a:xfrm>
          <a:prstGeom prst="line">
            <a:avLst/>
          </a:prstGeom>
          <a:ln w="3810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BB603B64-1148-5FE8-9097-E88C8BAA82A0}"/>
              </a:ext>
            </a:extLst>
          </p:cNvPr>
          <p:cNvSpPr txBox="1"/>
          <p:nvPr/>
        </p:nvSpPr>
        <p:spPr>
          <a:xfrm>
            <a:off x="1453147" y="1251287"/>
            <a:ext cx="2324769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Referring Site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0EF2E31-DCE7-5804-75BB-3F378064B00A}"/>
              </a:ext>
            </a:extLst>
          </p:cNvPr>
          <p:cNvSpPr txBox="1"/>
          <p:nvPr/>
        </p:nvSpPr>
        <p:spPr>
          <a:xfrm>
            <a:off x="7544473" y="1207879"/>
            <a:ext cx="2324769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Trial Site</a:t>
            </a:r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4B9761F7-DC29-D052-EC29-4CFAC857BA7B}"/>
              </a:ext>
            </a:extLst>
          </p:cNvPr>
          <p:cNvSpPr/>
          <p:nvPr/>
        </p:nvSpPr>
        <p:spPr>
          <a:xfrm>
            <a:off x="6555871" y="2165687"/>
            <a:ext cx="1890296" cy="111893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D8806C4-B89A-8C91-64BE-7F7115A8EB24}"/>
              </a:ext>
            </a:extLst>
          </p:cNvPr>
          <p:cNvSpPr/>
          <p:nvPr/>
        </p:nvSpPr>
        <p:spPr>
          <a:xfrm>
            <a:off x="9397999" y="2144966"/>
            <a:ext cx="1117598" cy="111893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00"/>
          </a:p>
        </p:txBody>
      </p:sp>
      <p:sp>
        <p:nvSpPr>
          <p:cNvPr id="47" name="Title 46">
            <a:extLst>
              <a:ext uri="{FF2B5EF4-FFF2-40B4-BE49-F238E27FC236}">
                <a16:creationId xmlns:a16="http://schemas.microsoft.com/office/drawing/2014/main" id="{920C6251-4868-F51E-94AE-59E9F76729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9529" y="-99895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2400" b="1" dirty="0"/>
              <a:t>Model 2 –</a:t>
            </a:r>
            <a:r>
              <a:rPr lang="en-US" sz="2400" b="1" i="1" dirty="0"/>
              <a:t>PIC Plus</a:t>
            </a: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607E16E5-1F0E-031A-2040-BD9F00D7DD1F}"/>
              </a:ext>
            </a:extLst>
          </p:cNvPr>
          <p:cNvSpPr txBox="1"/>
          <p:nvPr/>
        </p:nvSpPr>
        <p:spPr>
          <a:xfrm rot="16200000">
            <a:off x="-307854" y="2305398"/>
            <a:ext cx="1185916" cy="553998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sz="1500" dirty="0"/>
              <a:t>Standard PIC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3ACAB58A-2BEE-D7C4-9511-F8B4D4DBD557}"/>
              </a:ext>
            </a:extLst>
          </p:cNvPr>
          <p:cNvGrpSpPr/>
          <p:nvPr/>
        </p:nvGrpSpPr>
        <p:grpSpPr>
          <a:xfrm>
            <a:off x="110912" y="4261509"/>
            <a:ext cx="12081088" cy="1222219"/>
            <a:chOff x="110912" y="4261509"/>
            <a:chExt cx="12081088" cy="1222219"/>
          </a:xfrm>
        </p:grpSpPr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F4CD8EB4-24D4-07C6-AB21-05B54B793622}"/>
                </a:ext>
              </a:extLst>
            </p:cNvPr>
            <p:cNvCxnSpPr>
              <a:cxnSpLocks/>
              <a:stCxn id="27" idx="0"/>
              <a:endCxn id="26" idx="1"/>
            </p:cNvCxnSpPr>
            <p:nvPr/>
          </p:nvCxnSpPr>
          <p:spPr>
            <a:xfrm flipV="1">
              <a:off x="4062091" y="4877250"/>
              <a:ext cx="2551366" cy="1671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F6EEF235-25C1-AB37-4560-EE42FF452410}"/>
                </a:ext>
              </a:extLst>
            </p:cNvPr>
            <p:cNvCxnSpPr>
              <a:cxnSpLocks/>
              <a:endCxn id="28" idx="1"/>
            </p:cNvCxnSpPr>
            <p:nvPr/>
          </p:nvCxnSpPr>
          <p:spPr>
            <a:xfrm>
              <a:off x="7652183" y="4860538"/>
              <a:ext cx="3259122" cy="557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ounded Rectangle 23">
              <a:extLst>
                <a:ext uri="{FF2B5EF4-FFF2-40B4-BE49-F238E27FC236}">
                  <a16:creationId xmlns:a16="http://schemas.microsoft.com/office/drawing/2014/main" id="{73D90EBE-D2F4-B881-5054-4F1385389A79}"/>
                </a:ext>
              </a:extLst>
            </p:cNvPr>
            <p:cNvSpPr/>
            <p:nvPr/>
          </p:nvSpPr>
          <p:spPr>
            <a:xfrm>
              <a:off x="1130883" y="4463274"/>
              <a:ext cx="1408764" cy="829734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lorectal surgery</a:t>
              </a:r>
            </a:p>
          </p:txBody>
        </p:sp>
        <p:sp>
          <p:nvSpPr>
            <p:cNvPr id="25" name="Rounded Rectangle 24">
              <a:extLst>
                <a:ext uri="{FF2B5EF4-FFF2-40B4-BE49-F238E27FC236}">
                  <a16:creationId xmlns:a16="http://schemas.microsoft.com/office/drawing/2014/main" id="{7CDADFC0-85CA-4268-C8D6-17F822CE59B6}"/>
                </a:ext>
              </a:extLst>
            </p:cNvPr>
            <p:cNvSpPr/>
            <p:nvPr/>
          </p:nvSpPr>
          <p:spPr>
            <a:xfrm>
              <a:off x="2674591" y="4462383"/>
              <a:ext cx="1376041" cy="829734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lorectal</a:t>
              </a:r>
            </a:p>
            <a:p>
              <a:pPr algn="ctr"/>
              <a:r>
                <a:rPr lang="en-US" dirty="0"/>
                <a:t>OPD</a:t>
              </a:r>
            </a:p>
          </p:txBody>
        </p:sp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3B80B74A-2B8B-9093-E4FD-EA818C05C71E}"/>
                </a:ext>
              </a:extLst>
            </p:cNvPr>
            <p:cNvSpPr/>
            <p:nvPr/>
          </p:nvSpPr>
          <p:spPr>
            <a:xfrm>
              <a:off x="6613457" y="4462383"/>
              <a:ext cx="1280695" cy="829734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Oncology</a:t>
              </a:r>
            </a:p>
            <a:p>
              <a:pPr algn="ctr"/>
              <a:r>
                <a:rPr lang="en-US" dirty="0"/>
                <a:t>OPD</a:t>
              </a:r>
            </a:p>
          </p:txBody>
        </p:sp>
        <p:sp>
          <p:nvSpPr>
            <p:cNvPr id="28" name="Rounded Rectangle 27">
              <a:extLst>
                <a:ext uri="{FF2B5EF4-FFF2-40B4-BE49-F238E27FC236}">
                  <a16:creationId xmlns:a16="http://schemas.microsoft.com/office/drawing/2014/main" id="{93881607-C90F-76CC-9653-4992A766767D}"/>
                </a:ext>
              </a:extLst>
            </p:cNvPr>
            <p:cNvSpPr/>
            <p:nvPr/>
          </p:nvSpPr>
          <p:spPr>
            <a:xfrm>
              <a:off x="10911305" y="4451242"/>
              <a:ext cx="1280695" cy="829734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djuvant chemo</a:t>
              </a:r>
            </a:p>
          </p:txBody>
        </p:sp>
        <p:sp>
          <p:nvSpPr>
            <p:cNvPr id="29" name="Rounded Rectangle 28">
              <a:extLst>
                <a:ext uri="{FF2B5EF4-FFF2-40B4-BE49-F238E27FC236}">
                  <a16:creationId xmlns:a16="http://schemas.microsoft.com/office/drawing/2014/main" id="{677048AD-544E-9D9A-B7EF-63719A620DD4}"/>
                </a:ext>
              </a:extLst>
            </p:cNvPr>
            <p:cNvSpPr/>
            <p:nvPr/>
          </p:nvSpPr>
          <p:spPr>
            <a:xfrm rot="16200000">
              <a:off x="4627622" y="4661105"/>
              <a:ext cx="971547" cy="497527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/>
                <a:t>Contact</a:t>
              </a:r>
            </a:p>
          </p:txBody>
        </p:sp>
        <p:sp>
          <p:nvSpPr>
            <p:cNvPr id="31" name="Rounded Rectangle 30">
              <a:extLst>
                <a:ext uri="{FF2B5EF4-FFF2-40B4-BE49-F238E27FC236}">
                  <a16:creationId xmlns:a16="http://schemas.microsoft.com/office/drawing/2014/main" id="{2217991E-5950-CD35-91CC-634920F21EDF}"/>
                </a:ext>
              </a:extLst>
            </p:cNvPr>
            <p:cNvSpPr/>
            <p:nvPr/>
          </p:nvSpPr>
          <p:spPr>
            <a:xfrm rot="16200000">
              <a:off x="5932797" y="4632276"/>
              <a:ext cx="840875" cy="497527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/>
                <a:t>ctDNA</a:t>
              </a:r>
            </a:p>
          </p:txBody>
        </p: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60DD3B08-A64D-F2F6-8559-7786542EA49C}"/>
                </a:ext>
              </a:extLst>
            </p:cNvPr>
            <p:cNvCxnSpPr>
              <a:cxnSpLocks/>
              <a:stCxn id="24" idx="3"/>
              <a:endCxn id="25" idx="1"/>
            </p:cNvCxnSpPr>
            <p:nvPr/>
          </p:nvCxnSpPr>
          <p:spPr>
            <a:xfrm flipV="1">
              <a:off x="2539647" y="4877250"/>
              <a:ext cx="134944" cy="89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Rounded Rectangle 26">
              <a:extLst>
                <a:ext uri="{FF2B5EF4-FFF2-40B4-BE49-F238E27FC236}">
                  <a16:creationId xmlns:a16="http://schemas.microsoft.com/office/drawing/2014/main" id="{5CD8A003-11B1-1A95-FCA6-6C1028064D2C}"/>
                </a:ext>
              </a:extLst>
            </p:cNvPr>
            <p:cNvSpPr/>
            <p:nvPr/>
          </p:nvSpPr>
          <p:spPr>
            <a:xfrm rot="16200000">
              <a:off x="3890417" y="4645198"/>
              <a:ext cx="840875" cy="497527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PIS</a:t>
              </a:r>
            </a:p>
          </p:txBody>
        </p:sp>
        <p:sp>
          <p:nvSpPr>
            <p:cNvPr id="36" name="Rounded Rectangle 35">
              <a:extLst>
                <a:ext uri="{FF2B5EF4-FFF2-40B4-BE49-F238E27FC236}">
                  <a16:creationId xmlns:a16="http://schemas.microsoft.com/office/drawing/2014/main" id="{A8408DF0-7CA8-43AC-CA79-1AE567649294}"/>
                </a:ext>
              </a:extLst>
            </p:cNvPr>
            <p:cNvSpPr/>
            <p:nvPr/>
          </p:nvSpPr>
          <p:spPr>
            <a:xfrm rot="16200000">
              <a:off x="5372433" y="4640259"/>
              <a:ext cx="949608" cy="497527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sent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9D5DCCA2-55C8-71D5-0350-E477E3A41766}"/>
                </a:ext>
              </a:extLst>
            </p:cNvPr>
            <p:cNvSpPr/>
            <p:nvPr/>
          </p:nvSpPr>
          <p:spPr>
            <a:xfrm>
              <a:off x="5534175" y="4364791"/>
              <a:ext cx="2454791" cy="1118937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11FE96B0-EB09-3DE2-02D3-53EA7C004A92}"/>
                </a:ext>
              </a:extLst>
            </p:cNvPr>
            <p:cNvSpPr/>
            <p:nvPr/>
          </p:nvSpPr>
          <p:spPr>
            <a:xfrm>
              <a:off x="2675922" y="4326136"/>
              <a:ext cx="1964395" cy="1118937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Rounded Rectangle 48">
              <a:extLst>
                <a:ext uri="{FF2B5EF4-FFF2-40B4-BE49-F238E27FC236}">
                  <a16:creationId xmlns:a16="http://schemas.microsoft.com/office/drawing/2014/main" id="{E479E5BB-24AC-9C17-B928-6E4BAEF826E1}"/>
                </a:ext>
              </a:extLst>
            </p:cNvPr>
            <p:cNvSpPr/>
            <p:nvPr/>
          </p:nvSpPr>
          <p:spPr>
            <a:xfrm rot="16200000">
              <a:off x="496097" y="4631884"/>
              <a:ext cx="814252" cy="497527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/>
                <a:t>Advert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024C3C03-A48A-89BE-7D97-42D5FC507363}"/>
                </a:ext>
              </a:extLst>
            </p:cNvPr>
            <p:cNvSpPr txBox="1"/>
            <p:nvPr/>
          </p:nvSpPr>
          <p:spPr>
            <a:xfrm rot="16200000">
              <a:off x="-297381" y="4669802"/>
              <a:ext cx="1185917" cy="369332"/>
            </a:xfrm>
            <a:prstGeom prst="rect">
              <a:avLst/>
            </a:prstGeom>
            <a:noFill/>
            <a:ln>
              <a:solidFill>
                <a:schemeClr val="tx1"/>
              </a:solidFill>
            </a:ln>
          </p:spPr>
          <p:txBody>
            <a:bodyPr wrap="square" rtlCol="0">
              <a:spAutoFit/>
            </a:bodyPr>
            <a:lstStyle/>
            <a:p>
              <a:pPr algn="ctr"/>
              <a:r>
                <a:rPr lang="en-US" dirty="0"/>
                <a:t>PIC Plus</a:t>
              </a:r>
            </a:p>
          </p:txBody>
        </p:sp>
      </p:grp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F408671B-BDAC-3F0F-3EA6-D04CD1DAE58D}"/>
              </a:ext>
            </a:extLst>
          </p:cNvPr>
          <p:cNvSpPr/>
          <p:nvPr/>
        </p:nvSpPr>
        <p:spPr>
          <a:xfrm rot="16200000">
            <a:off x="3856266" y="2465268"/>
            <a:ext cx="992871" cy="497527"/>
          </a:xfrm>
          <a:prstGeom prst="roundRect">
            <a:avLst/>
          </a:prstGeom>
          <a:solidFill>
            <a:schemeClr val="accent2">
              <a:lumMod val="60000"/>
              <a:lumOff val="4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500" dirty="0"/>
              <a:t>Mention trial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B5FA944-6388-0A05-0FF8-4C7BD3AF14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949" y="108036"/>
            <a:ext cx="1229388" cy="1143252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E3DEFBF8-07D3-E89C-F624-1D3C5C3CC5D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3235" y="95029"/>
            <a:ext cx="1293025" cy="1202430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  <a:solidFill>
            <a:schemeClr val="bg1"/>
          </a:solidFill>
        </p:spPr>
      </p:pic>
      <p:sp>
        <p:nvSpPr>
          <p:cNvPr id="12" name="Oval 11">
            <a:extLst>
              <a:ext uri="{FF2B5EF4-FFF2-40B4-BE49-F238E27FC236}">
                <a16:creationId xmlns:a16="http://schemas.microsoft.com/office/drawing/2014/main" id="{9C7DCD9F-3FF0-A9FB-BB90-4DC635E17581}"/>
              </a:ext>
            </a:extLst>
          </p:cNvPr>
          <p:cNvSpPr/>
          <p:nvPr/>
        </p:nvSpPr>
        <p:spPr>
          <a:xfrm>
            <a:off x="3939419" y="1989439"/>
            <a:ext cx="814000" cy="1501346"/>
          </a:xfrm>
          <a:prstGeom prst="ellipse">
            <a:avLst/>
          </a:prstGeom>
          <a:noFill/>
          <a:ln w="57150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17A3D613-76AC-550B-1802-60B1FBA081A3}"/>
              </a:ext>
            </a:extLst>
          </p:cNvPr>
          <p:cNvSpPr/>
          <p:nvPr/>
        </p:nvSpPr>
        <p:spPr>
          <a:xfrm>
            <a:off x="430420" y="4109865"/>
            <a:ext cx="814000" cy="1501346"/>
          </a:xfrm>
          <a:prstGeom prst="ellipse">
            <a:avLst/>
          </a:prstGeom>
          <a:noFill/>
          <a:ln w="57150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468AB7D5-FB16-BA41-C52A-6DC45DEC7A29}"/>
              </a:ext>
            </a:extLst>
          </p:cNvPr>
          <p:cNvSpPr/>
          <p:nvPr/>
        </p:nvSpPr>
        <p:spPr>
          <a:xfrm>
            <a:off x="3843660" y="4109865"/>
            <a:ext cx="814000" cy="1501346"/>
          </a:xfrm>
          <a:prstGeom prst="ellipse">
            <a:avLst/>
          </a:prstGeom>
          <a:noFill/>
          <a:ln w="57150">
            <a:solidFill>
              <a:srgbClr val="FFC000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308692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 animBg="1"/>
      <p:bldP spid="17" grpId="0" animBg="1"/>
      <p:bldP spid="20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Content Placeholder 4" descr="A screenshot of a computer&#10;&#10;Description automatically generated">
            <a:extLst>
              <a:ext uri="{FF2B5EF4-FFF2-40B4-BE49-F238E27FC236}">
                <a16:creationId xmlns:a16="http://schemas.microsoft.com/office/drawing/2014/main" id="{CC86F39C-BD33-01E7-D4AC-9CC974D67DE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27780" t="62727" r="1599" b="23264"/>
          <a:stretch/>
        </p:blipFill>
        <p:spPr>
          <a:xfrm>
            <a:off x="1405466" y="3327401"/>
            <a:ext cx="8331200" cy="1032934"/>
          </a:xfrm>
        </p:spPr>
      </p:pic>
      <p:pic>
        <p:nvPicPr>
          <p:cNvPr id="6" name="Content Placeholder 4" descr="A screenshot of a computer&#10;&#10;Description automatically generated">
            <a:extLst>
              <a:ext uri="{FF2B5EF4-FFF2-40B4-BE49-F238E27FC236}">
                <a16:creationId xmlns:a16="http://schemas.microsoft.com/office/drawing/2014/main" id="{A1E2E4AC-AAE0-EA02-C10C-B17C088335C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7780" t="62727" r="34100" b="23264"/>
          <a:stretch/>
        </p:blipFill>
        <p:spPr>
          <a:xfrm rot="1845607">
            <a:off x="3499133" y="2321842"/>
            <a:ext cx="2397338" cy="629722"/>
          </a:xfrm>
          <a:prstGeom prst="rect">
            <a:avLst/>
          </a:prstGeom>
        </p:spPr>
      </p:pic>
      <p:pic>
        <p:nvPicPr>
          <p:cNvPr id="7" name="Content Placeholder 4" descr="A screenshot of a computer&#10;&#10;Description automatically generated">
            <a:extLst>
              <a:ext uri="{FF2B5EF4-FFF2-40B4-BE49-F238E27FC236}">
                <a16:creationId xmlns:a16="http://schemas.microsoft.com/office/drawing/2014/main" id="{99A757A9-BF93-BC24-4B56-936C8907243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7780" t="62727" r="34100" b="23264"/>
          <a:stretch/>
        </p:blipFill>
        <p:spPr>
          <a:xfrm rot="5400000">
            <a:off x="5265053" y="2168117"/>
            <a:ext cx="1931232" cy="590534"/>
          </a:xfrm>
          <a:prstGeom prst="rect">
            <a:avLst/>
          </a:prstGeom>
        </p:spPr>
      </p:pic>
      <p:pic>
        <p:nvPicPr>
          <p:cNvPr id="8" name="Content Placeholder 4" descr="A screenshot of a computer&#10;&#10;Description automatically generated">
            <a:extLst>
              <a:ext uri="{FF2B5EF4-FFF2-40B4-BE49-F238E27FC236}">
                <a16:creationId xmlns:a16="http://schemas.microsoft.com/office/drawing/2014/main" id="{9C1121A1-08EB-0F21-9CF0-54950C70B9C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7780" t="62727" r="34100" b="23264"/>
          <a:stretch/>
        </p:blipFill>
        <p:spPr>
          <a:xfrm rot="16200000">
            <a:off x="5170360" y="5132348"/>
            <a:ext cx="2030941" cy="690113"/>
          </a:xfrm>
          <a:prstGeom prst="rect">
            <a:avLst/>
          </a:prstGeom>
        </p:spPr>
      </p:pic>
      <p:pic>
        <p:nvPicPr>
          <p:cNvPr id="9" name="Content Placeholder 4" descr="A screenshot of a computer&#10;&#10;Description automatically generated">
            <a:extLst>
              <a:ext uri="{FF2B5EF4-FFF2-40B4-BE49-F238E27FC236}">
                <a16:creationId xmlns:a16="http://schemas.microsoft.com/office/drawing/2014/main" id="{286A83E4-C232-B5DE-A7D5-5E473AD8F1B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7780" t="62727" r="34100" b="23264"/>
          <a:stretch/>
        </p:blipFill>
        <p:spPr>
          <a:xfrm rot="19571325">
            <a:off x="3490660" y="4807353"/>
            <a:ext cx="2526997" cy="66378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A02B8D1E-4B26-9A53-06E8-7C3C7D35357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949" y="132100"/>
            <a:ext cx="1158465" cy="1077298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</p:spPr>
      </p:pic>
      <p:sp>
        <p:nvSpPr>
          <p:cNvPr id="11" name="Title 46">
            <a:extLst>
              <a:ext uri="{FF2B5EF4-FFF2-40B4-BE49-F238E27FC236}">
                <a16:creationId xmlns:a16="http://schemas.microsoft.com/office/drawing/2014/main" id="{0B7AE1C4-DC0A-4752-29F1-30DBCCDA88DD}"/>
              </a:ext>
            </a:extLst>
          </p:cNvPr>
          <p:cNvSpPr txBox="1">
            <a:spLocks/>
          </p:cNvSpPr>
          <p:nvPr/>
        </p:nvSpPr>
        <p:spPr>
          <a:xfrm>
            <a:off x="1094437" y="-53818"/>
            <a:ext cx="10515600" cy="1325563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/>
              <a:t>Model 2 – </a:t>
            </a:r>
            <a:r>
              <a:rPr lang="en-US" sz="2400" b="1" i="1" dirty="0"/>
              <a:t>PIC Plus</a:t>
            </a:r>
          </a:p>
          <a:p>
            <a:pPr algn="ctr"/>
            <a:r>
              <a:rPr lang="en-US" sz="2400" b="1" i="1" dirty="0"/>
              <a:t>Multiple sites across cancer network feed into trial sit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4D8A2AD-E245-9FC2-4D19-4192467C6A7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949" y="132100"/>
            <a:ext cx="1293025" cy="1202430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7259280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2BAA1C9-6C57-01FF-6ED3-80249F90A64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C28CFDF-6DEC-DC54-0A1A-A90DD0DC646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949" y="132100"/>
            <a:ext cx="1158465" cy="1077298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</p:spPr>
      </p:pic>
      <p:sp>
        <p:nvSpPr>
          <p:cNvPr id="11" name="Title 46">
            <a:extLst>
              <a:ext uri="{FF2B5EF4-FFF2-40B4-BE49-F238E27FC236}">
                <a16:creationId xmlns:a16="http://schemas.microsoft.com/office/drawing/2014/main" id="{D13EEF59-84DD-5045-42A2-43AA6CA8ACBD}"/>
              </a:ext>
            </a:extLst>
          </p:cNvPr>
          <p:cNvSpPr txBox="1">
            <a:spLocks/>
          </p:cNvSpPr>
          <p:nvPr/>
        </p:nvSpPr>
        <p:spPr>
          <a:xfrm>
            <a:off x="1094437" y="-214458"/>
            <a:ext cx="10515600" cy="1325563"/>
          </a:xfrm>
          <a:prstGeom prst="rect">
            <a:avLst/>
          </a:prstGeom>
        </p:spPr>
        <p:txBody>
          <a:bodyPr vert="horz" lIns="0" tIns="0" rIns="0" bIns="0" rtlCol="0" anchor="b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2400" b="1" dirty="0"/>
              <a:t>Model 3 – NHSE Cancer Vaccine Launchpad (CVLP)</a:t>
            </a:r>
          </a:p>
        </p:txBody>
      </p:sp>
      <p:pic>
        <p:nvPicPr>
          <p:cNvPr id="10" name="Picture 4">
            <a:extLst>
              <a:ext uri="{FF2B5EF4-FFF2-40B4-BE49-F238E27FC236}">
                <a16:creationId xmlns:a16="http://schemas.microsoft.com/office/drawing/2014/main" id="{A5851F74-9A6C-130D-8326-3C82803E195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842" y="1647985"/>
            <a:ext cx="10646049" cy="3586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E9A98917-C629-C219-60A4-4C66F5387A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949" y="132100"/>
            <a:ext cx="1293025" cy="1202430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4251941304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0D30925-2BF9-F98C-D3E9-1E349EFCF85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62CA5141-BBB0-660F-3CBA-D221246DAA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Model 4 – Mobile Capacity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B51E23E-4592-6C33-2842-1A3E3A5687FC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0" y="6621463"/>
            <a:ext cx="242888" cy="139700"/>
          </a:xfrm>
        </p:spPr>
        <p:txBody>
          <a:bodyPr/>
          <a:lstStyle/>
          <a:p>
            <a:fld id="{73FB0AF2-78ED-4B1E-B8C2-1E1D13111D37}" type="slidenum">
              <a:rPr lang="de-DE" smtClean="0"/>
              <a:t>18</a:t>
            </a:fld>
            <a:endParaRPr lang="de-DE"/>
          </a:p>
        </p:txBody>
      </p:sp>
      <p:pic>
        <p:nvPicPr>
          <p:cNvPr id="13" name="Picture 12" descr="A map of the world&#10;&#10;Description automatically generated">
            <a:extLst>
              <a:ext uri="{FF2B5EF4-FFF2-40B4-BE49-F238E27FC236}">
                <a16:creationId xmlns:a16="http://schemas.microsoft.com/office/drawing/2014/main" id="{BEC12843-6BB3-7814-A258-D45F5CBB190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2273" t="15545" r="2543" b="9274"/>
          <a:stretch/>
        </p:blipFill>
        <p:spPr>
          <a:xfrm>
            <a:off x="2187146" y="1556952"/>
            <a:ext cx="7286624" cy="4727419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D745ABD6-82A1-62D2-F544-489C256EDC1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949" y="132100"/>
            <a:ext cx="1293025" cy="1202430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  <a:solidFill>
            <a:srgbClr val="FAFAFA"/>
          </a:solidFill>
        </p:spPr>
      </p:pic>
    </p:spTree>
    <p:extLst>
      <p:ext uri="{BB962C8B-B14F-4D97-AF65-F5344CB8AC3E}">
        <p14:creationId xmlns:p14="http://schemas.microsoft.com/office/powerpoint/2010/main" val="266313446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2D4527E-8352-7CBD-1EED-752DAA99D44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77AC97D5-DE9F-5A35-6107-8F7A9B2DC7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2400" dirty="0"/>
              <a:t>Model 4 – Mobile Capac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B267472-6773-B38B-C01C-21C87060FCA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5313" y="2205126"/>
            <a:ext cx="3556557" cy="4391930"/>
          </a:xfrm>
        </p:spPr>
        <p:txBody>
          <a:bodyPr/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Allows a trial site to move activity from the hospital to the patie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Van functions as a mobile part of the main trial sit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Contracts &amp; governance unchang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Improves access to underserved populatio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479A846-D523-D12B-DF7C-CFC19A1C4E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FB0AF2-78ED-4B1E-B8C2-1E1D13111D37}" type="slidenum">
              <a:rPr lang="de-DE" smtClean="0"/>
              <a:t>19</a:t>
            </a:fld>
            <a:endParaRPr lang="de-DE"/>
          </a:p>
        </p:txBody>
      </p:sp>
      <p:pic>
        <p:nvPicPr>
          <p:cNvPr id="7" name="Picture 6" descr="A van parked on the street&#10;&#10;Description automatically generated">
            <a:extLst>
              <a:ext uri="{FF2B5EF4-FFF2-40B4-BE49-F238E27FC236}">
                <a16:creationId xmlns:a16="http://schemas.microsoft.com/office/drawing/2014/main" id="{40F1D4C7-EFB3-46A7-FB96-6CC42992CBE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22573" y="1558678"/>
            <a:ext cx="7323438" cy="484502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95ECEFE2-0C8F-DD33-EFC8-6E84F2870C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949" y="132100"/>
            <a:ext cx="1293025" cy="1202430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129347318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4103" name="Rectangle 4102">
            <a:extLst>
              <a:ext uri="{FF2B5EF4-FFF2-40B4-BE49-F238E27FC236}">
                <a16:creationId xmlns:a16="http://schemas.microsoft.com/office/drawing/2014/main" id="{0E91F5CA-B392-444C-88E3-BF5BAAEBDEB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08" name="Rectangle 4104">
            <a:extLst>
              <a:ext uri="{FF2B5EF4-FFF2-40B4-BE49-F238E27FC236}">
                <a16:creationId xmlns:a16="http://schemas.microsoft.com/office/drawing/2014/main" id="{0459807F-B6FA-44D3-9A53-C55B6B56884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080681"/>
            <a:ext cx="12192000" cy="2777318"/>
          </a:xfrm>
          <a:prstGeom prst="rect">
            <a:avLst/>
          </a:pr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B1D89B-7418-5347-CA7F-F20B0A0898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55060" y="5279511"/>
            <a:ext cx="9681882" cy="739880"/>
          </a:xfrm>
        </p:spPr>
        <p:txBody>
          <a:bodyPr vert="horz" lIns="91440" tIns="45720" rIns="91440" bIns="45720" rtlCol="0" anchor="b">
            <a:normAutofit/>
          </a:bodyPr>
          <a:lstStyle/>
          <a:p>
            <a:pPr algn="ctr"/>
            <a:r>
              <a:rPr lang="en-US" sz="36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Declaration</a:t>
            </a:r>
          </a:p>
        </p:txBody>
      </p:sp>
      <p:pic>
        <p:nvPicPr>
          <p:cNvPr id="4098" name="Picture 2" descr="Oasis’ Wonderwall: The Meaning, The Story, and The Legacy of a Britpop Classic">
            <a:extLst>
              <a:ext uri="{FF2B5EF4-FFF2-40B4-BE49-F238E27FC236}">
                <a16:creationId xmlns:a16="http://schemas.microsoft.com/office/drawing/2014/main" id="{26B889EA-1731-B373-7A99-034516173AE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032"/>
          <a:stretch/>
        </p:blipFill>
        <p:spPr bwMode="auto">
          <a:xfrm>
            <a:off x="20" y="10"/>
            <a:ext cx="12191979" cy="5886523"/>
          </a:xfrm>
          <a:custGeom>
            <a:avLst/>
            <a:gdLst/>
            <a:ahLst/>
            <a:cxnLst/>
            <a:rect l="l" t="t" r="r" b="b"/>
            <a:pathLst>
              <a:path w="12191999" h="5886533">
                <a:moveTo>
                  <a:pt x="4721173" y="4907914"/>
                </a:moveTo>
                <a:lnTo>
                  <a:pt x="4722109" y="4908125"/>
                </a:lnTo>
                <a:cubicBezTo>
                  <a:pt x="4721143" y="4908767"/>
                  <a:pt x="4718263" y="4909373"/>
                  <a:pt x="4717199" y="4909396"/>
                </a:cubicBezTo>
                <a:close/>
                <a:moveTo>
                  <a:pt x="0" y="0"/>
                </a:moveTo>
                <a:lnTo>
                  <a:pt x="12191999" y="0"/>
                </a:lnTo>
                <a:lnTo>
                  <a:pt x="12191999" y="5751311"/>
                </a:lnTo>
                <a:lnTo>
                  <a:pt x="12140860" y="5770509"/>
                </a:lnTo>
                <a:cubicBezTo>
                  <a:pt x="12126656" y="5772723"/>
                  <a:pt x="12093589" y="5827925"/>
                  <a:pt x="12080161" y="5826358"/>
                </a:cubicBezTo>
                <a:cubicBezTo>
                  <a:pt x="11978188" y="5850511"/>
                  <a:pt x="11967361" y="5873564"/>
                  <a:pt x="11917885" y="5861578"/>
                </a:cubicBezTo>
                <a:cubicBezTo>
                  <a:pt x="11872779" y="5859863"/>
                  <a:pt x="11928861" y="5896778"/>
                  <a:pt x="11894610" y="5883738"/>
                </a:cubicBezTo>
                <a:cubicBezTo>
                  <a:pt x="11860359" y="5870698"/>
                  <a:pt x="11736091" y="5807232"/>
                  <a:pt x="11712379" y="5783337"/>
                </a:cubicBezTo>
                <a:cubicBezTo>
                  <a:pt x="11688667" y="5759442"/>
                  <a:pt x="11627912" y="5782933"/>
                  <a:pt x="11585366" y="5740371"/>
                </a:cubicBezTo>
                <a:lnTo>
                  <a:pt x="11516470" y="5663679"/>
                </a:lnTo>
                <a:cubicBezTo>
                  <a:pt x="11468274" y="5661847"/>
                  <a:pt x="11507335" y="5626593"/>
                  <a:pt x="11462692" y="5610127"/>
                </a:cubicBezTo>
                <a:cubicBezTo>
                  <a:pt x="11417567" y="5608500"/>
                  <a:pt x="11408021" y="5556613"/>
                  <a:pt x="11369712" y="5548654"/>
                </a:cubicBezTo>
                <a:cubicBezTo>
                  <a:pt x="11354317" y="5554704"/>
                  <a:pt x="11288328" y="5499810"/>
                  <a:pt x="11273969" y="5488986"/>
                </a:cubicBezTo>
                <a:cubicBezTo>
                  <a:pt x="11231913" y="5490378"/>
                  <a:pt x="11221973" y="5480544"/>
                  <a:pt x="11195084" y="5467967"/>
                </a:cubicBezTo>
                <a:cubicBezTo>
                  <a:pt x="11164086" y="5497749"/>
                  <a:pt x="11171649" y="5471790"/>
                  <a:pt x="11143408" y="5468614"/>
                </a:cubicBezTo>
                <a:cubicBezTo>
                  <a:pt x="11125906" y="5464975"/>
                  <a:pt x="11102603" y="5460835"/>
                  <a:pt x="11085935" y="5459365"/>
                </a:cubicBezTo>
                <a:cubicBezTo>
                  <a:pt x="11057493" y="5459661"/>
                  <a:pt x="11029906" y="5441496"/>
                  <a:pt x="11030953" y="5456484"/>
                </a:cubicBezTo>
                <a:cubicBezTo>
                  <a:pt x="11007784" y="5459001"/>
                  <a:pt x="10982005" y="5463178"/>
                  <a:pt x="10951060" y="5461240"/>
                </a:cubicBezTo>
                <a:cubicBezTo>
                  <a:pt x="10885365" y="5424406"/>
                  <a:pt x="10915288" y="5460968"/>
                  <a:pt x="10857721" y="5448157"/>
                </a:cubicBezTo>
                <a:cubicBezTo>
                  <a:pt x="10806646" y="5435790"/>
                  <a:pt x="10707075" y="5402712"/>
                  <a:pt x="10644616" y="5387039"/>
                </a:cubicBezTo>
                <a:cubicBezTo>
                  <a:pt x="10616446" y="5382224"/>
                  <a:pt x="10558603" y="5371613"/>
                  <a:pt x="10519277" y="5366793"/>
                </a:cubicBezTo>
                <a:cubicBezTo>
                  <a:pt x="10495461" y="5368312"/>
                  <a:pt x="10473830" y="5354868"/>
                  <a:pt x="10445981" y="5364735"/>
                </a:cubicBezTo>
                <a:cubicBezTo>
                  <a:pt x="10436536" y="5368773"/>
                  <a:pt x="10409281" y="5367966"/>
                  <a:pt x="10383865" y="5360888"/>
                </a:cubicBezTo>
                <a:cubicBezTo>
                  <a:pt x="10374827" y="5369095"/>
                  <a:pt x="10347864" y="5360432"/>
                  <a:pt x="10336852" y="5360277"/>
                </a:cubicBezTo>
                <a:cubicBezTo>
                  <a:pt x="10323586" y="5366987"/>
                  <a:pt x="10274741" y="5357921"/>
                  <a:pt x="10261098" y="5350526"/>
                </a:cubicBezTo>
                <a:lnTo>
                  <a:pt x="10126497" y="5339011"/>
                </a:lnTo>
                <a:lnTo>
                  <a:pt x="10082166" y="5336916"/>
                </a:lnTo>
                <a:cubicBezTo>
                  <a:pt x="10074567" y="5338985"/>
                  <a:pt x="10046860" y="5337657"/>
                  <a:pt x="10039237" y="5338580"/>
                </a:cubicBezTo>
                <a:cubicBezTo>
                  <a:pt x="9998458" y="5328479"/>
                  <a:pt x="9984394" y="5327989"/>
                  <a:pt x="9960016" y="5323065"/>
                </a:cubicBezTo>
                <a:cubicBezTo>
                  <a:pt x="9918980" y="5322923"/>
                  <a:pt x="9888741" y="5326122"/>
                  <a:pt x="9847789" y="5316297"/>
                </a:cubicBezTo>
                <a:lnTo>
                  <a:pt x="9728306" y="5296090"/>
                </a:lnTo>
                <a:cubicBezTo>
                  <a:pt x="9675056" y="5305676"/>
                  <a:pt x="9602035" y="5297282"/>
                  <a:pt x="9584504" y="5284670"/>
                </a:cubicBezTo>
                <a:cubicBezTo>
                  <a:pt x="9518952" y="5270394"/>
                  <a:pt x="9415429" y="5244268"/>
                  <a:pt x="9343049" y="5238968"/>
                </a:cubicBezTo>
                <a:lnTo>
                  <a:pt x="9231367" y="5187063"/>
                </a:lnTo>
                <a:lnTo>
                  <a:pt x="9194807" y="5176984"/>
                </a:lnTo>
                <a:lnTo>
                  <a:pt x="9189243" y="5167745"/>
                </a:lnTo>
                <a:lnTo>
                  <a:pt x="9151229" y="5156543"/>
                </a:lnTo>
                <a:lnTo>
                  <a:pt x="9150207" y="5157608"/>
                </a:lnTo>
                <a:cubicBezTo>
                  <a:pt x="9147045" y="5159739"/>
                  <a:pt x="9143081" y="5160831"/>
                  <a:pt x="9137315" y="5159777"/>
                </a:cubicBezTo>
                <a:cubicBezTo>
                  <a:pt x="9138862" y="5179261"/>
                  <a:pt x="9130952" y="5165972"/>
                  <a:pt x="9113809" y="5161143"/>
                </a:cubicBezTo>
                <a:cubicBezTo>
                  <a:pt x="9112388" y="5190326"/>
                  <a:pt x="9068114" y="5155892"/>
                  <a:pt x="9053450" y="5169457"/>
                </a:cubicBezTo>
                <a:lnTo>
                  <a:pt x="9005483" y="5166172"/>
                </a:lnTo>
                <a:lnTo>
                  <a:pt x="9005198" y="5166412"/>
                </a:lnTo>
                <a:cubicBezTo>
                  <a:pt x="9003143" y="5166632"/>
                  <a:pt x="9000324" y="5166304"/>
                  <a:pt x="8996229" y="5165201"/>
                </a:cubicBezTo>
                <a:lnTo>
                  <a:pt x="8990391" y="5163140"/>
                </a:lnTo>
                <a:lnTo>
                  <a:pt x="8974334" y="5159914"/>
                </a:lnTo>
                <a:lnTo>
                  <a:pt x="8968008" y="5160614"/>
                </a:lnTo>
                <a:lnTo>
                  <a:pt x="8963045" y="5162839"/>
                </a:lnTo>
                <a:cubicBezTo>
                  <a:pt x="8954690" y="5154888"/>
                  <a:pt x="8955517" y="5145940"/>
                  <a:pt x="8928985" y="5166027"/>
                </a:cubicBezTo>
                <a:cubicBezTo>
                  <a:pt x="8898031" y="5165007"/>
                  <a:pt x="8789300" y="5150352"/>
                  <a:pt x="8752441" y="5146795"/>
                </a:cubicBezTo>
                <a:cubicBezTo>
                  <a:pt x="8719819" y="5136075"/>
                  <a:pt x="8748194" y="5149736"/>
                  <a:pt x="8707844" y="5144694"/>
                </a:cubicBezTo>
                <a:cubicBezTo>
                  <a:pt x="8671606" y="5125159"/>
                  <a:pt x="8639142" y="5141599"/>
                  <a:pt x="8596068" y="5136122"/>
                </a:cubicBezTo>
                <a:lnTo>
                  <a:pt x="8525227" y="5150964"/>
                </a:lnTo>
                <a:lnTo>
                  <a:pt x="8510980" y="5145049"/>
                </a:lnTo>
                <a:lnTo>
                  <a:pt x="8506164" y="5142048"/>
                </a:lnTo>
                <a:cubicBezTo>
                  <a:pt x="8502646" y="5140271"/>
                  <a:pt x="8500045" y="5139460"/>
                  <a:pt x="8497965" y="5139310"/>
                </a:cubicBezTo>
                <a:lnTo>
                  <a:pt x="8497591" y="5139489"/>
                </a:lnTo>
                <a:lnTo>
                  <a:pt x="8490246" y="5136439"/>
                </a:lnTo>
                <a:lnTo>
                  <a:pt x="8367179" y="5122397"/>
                </a:lnTo>
                <a:cubicBezTo>
                  <a:pt x="8362021" y="5120372"/>
                  <a:pt x="8357730" y="5120720"/>
                  <a:pt x="8353796" y="5122203"/>
                </a:cubicBezTo>
                <a:lnTo>
                  <a:pt x="8352369" y="5123043"/>
                </a:lnTo>
                <a:lnTo>
                  <a:pt x="8320101" y="5105625"/>
                </a:lnTo>
                <a:lnTo>
                  <a:pt x="8314429" y="5105299"/>
                </a:lnTo>
                <a:lnTo>
                  <a:pt x="8295170" y="5091404"/>
                </a:lnTo>
                <a:lnTo>
                  <a:pt x="8284273" y="5085581"/>
                </a:lnTo>
                <a:lnTo>
                  <a:pt x="8283146" y="5081138"/>
                </a:lnTo>
                <a:cubicBezTo>
                  <a:pt x="8280842" y="5077893"/>
                  <a:pt x="8276148" y="5075245"/>
                  <a:pt x="8266072" y="5073963"/>
                </a:cubicBezTo>
                <a:lnTo>
                  <a:pt x="8263373" y="5074193"/>
                </a:lnTo>
                <a:lnTo>
                  <a:pt x="8252030" y="5064350"/>
                </a:lnTo>
                <a:cubicBezTo>
                  <a:pt x="8248856" y="5060500"/>
                  <a:pt x="8246644" y="5056218"/>
                  <a:pt x="8245831" y="5051358"/>
                </a:cubicBezTo>
                <a:cubicBezTo>
                  <a:pt x="8181824" y="5054265"/>
                  <a:pt x="8147127" y="5020143"/>
                  <a:pt x="8090268" y="5005197"/>
                </a:cubicBezTo>
                <a:cubicBezTo>
                  <a:pt x="8025464" y="4982055"/>
                  <a:pt x="7967067" y="4960819"/>
                  <a:pt x="7905404" y="4963224"/>
                </a:cubicBezTo>
                <a:cubicBezTo>
                  <a:pt x="7835116" y="4948312"/>
                  <a:pt x="7780962" y="4946081"/>
                  <a:pt x="7718741" y="4937509"/>
                </a:cubicBezTo>
                <a:lnTo>
                  <a:pt x="7614343" y="4940980"/>
                </a:lnTo>
                <a:lnTo>
                  <a:pt x="7527539" y="4935152"/>
                </a:lnTo>
                <a:lnTo>
                  <a:pt x="7519567" y="4932599"/>
                </a:lnTo>
                <a:cubicBezTo>
                  <a:pt x="7513989" y="4931260"/>
                  <a:pt x="7510169" y="4930910"/>
                  <a:pt x="7507408" y="4931264"/>
                </a:cubicBezTo>
                <a:lnTo>
                  <a:pt x="7507036" y="4931591"/>
                </a:lnTo>
                <a:lnTo>
                  <a:pt x="7495791" y="4929639"/>
                </a:lnTo>
                <a:cubicBezTo>
                  <a:pt x="7476982" y="4925521"/>
                  <a:pt x="7422524" y="4942937"/>
                  <a:pt x="7405387" y="4937744"/>
                </a:cubicBezTo>
                <a:cubicBezTo>
                  <a:pt x="7374785" y="4940694"/>
                  <a:pt x="7333986" y="4941799"/>
                  <a:pt x="7312176" y="4947339"/>
                </a:cubicBezTo>
                <a:lnTo>
                  <a:pt x="7310849" y="4948781"/>
                </a:lnTo>
                <a:lnTo>
                  <a:pt x="7218556" y="4923532"/>
                </a:lnTo>
                <a:lnTo>
                  <a:pt x="7201098" y="4918982"/>
                </a:lnTo>
                <a:lnTo>
                  <a:pt x="7197000" y="4913624"/>
                </a:lnTo>
                <a:cubicBezTo>
                  <a:pt x="7192108" y="4910101"/>
                  <a:pt x="7184502" y="4907962"/>
                  <a:pt x="7170804" y="4908976"/>
                </a:cubicBezTo>
                <a:lnTo>
                  <a:pt x="7096984" y="4896748"/>
                </a:lnTo>
                <a:cubicBezTo>
                  <a:pt x="7061144" y="4895770"/>
                  <a:pt x="7050185" y="4894793"/>
                  <a:pt x="7018492" y="4897122"/>
                </a:cubicBezTo>
                <a:cubicBezTo>
                  <a:pt x="6937524" y="4886184"/>
                  <a:pt x="6943641" y="4862018"/>
                  <a:pt x="6904142" y="4867616"/>
                </a:cubicBezTo>
                <a:cubicBezTo>
                  <a:pt x="6871918" y="4872824"/>
                  <a:pt x="6787985" y="4853750"/>
                  <a:pt x="6708218" y="4839661"/>
                </a:cubicBezTo>
                <a:cubicBezTo>
                  <a:pt x="6649102" y="4830206"/>
                  <a:pt x="6628102" y="4816105"/>
                  <a:pt x="6549451" y="4810885"/>
                </a:cubicBezTo>
                <a:cubicBezTo>
                  <a:pt x="6472150" y="4766795"/>
                  <a:pt x="6409692" y="4790518"/>
                  <a:pt x="6317556" y="4764085"/>
                </a:cubicBezTo>
                <a:cubicBezTo>
                  <a:pt x="6297547" y="4748563"/>
                  <a:pt x="6209288" y="4765756"/>
                  <a:pt x="6168670" y="4761998"/>
                </a:cubicBezTo>
                <a:cubicBezTo>
                  <a:pt x="6128052" y="4758240"/>
                  <a:pt x="6090536" y="4744692"/>
                  <a:pt x="6073844" y="4741536"/>
                </a:cubicBezTo>
                <a:lnTo>
                  <a:pt x="6068526" y="4743073"/>
                </a:lnTo>
                <a:lnTo>
                  <a:pt x="6048634" y="4742390"/>
                </a:lnTo>
                <a:lnTo>
                  <a:pt x="6041279" y="4750739"/>
                </a:lnTo>
                <a:lnTo>
                  <a:pt x="6010088" y="4755832"/>
                </a:lnTo>
                <a:cubicBezTo>
                  <a:pt x="5998677" y="4756419"/>
                  <a:pt x="5970124" y="4755506"/>
                  <a:pt x="5957373" y="4752188"/>
                </a:cubicBezTo>
                <a:lnTo>
                  <a:pt x="5758915" y="4736496"/>
                </a:lnTo>
                <a:lnTo>
                  <a:pt x="5626957" y="4735473"/>
                </a:lnTo>
                <a:lnTo>
                  <a:pt x="5470902" y="4749493"/>
                </a:lnTo>
                <a:cubicBezTo>
                  <a:pt x="5478131" y="4762521"/>
                  <a:pt x="5439006" y="4748455"/>
                  <a:pt x="5432757" y="4760746"/>
                </a:cubicBezTo>
                <a:cubicBezTo>
                  <a:pt x="5429365" y="4770778"/>
                  <a:pt x="5391824" y="4775462"/>
                  <a:pt x="5381664" y="4778448"/>
                </a:cubicBezTo>
                <a:lnTo>
                  <a:pt x="5261760" y="4798865"/>
                </a:lnTo>
                <a:cubicBezTo>
                  <a:pt x="5251595" y="4799049"/>
                  <a:pt x="5230547" y="4807359"/>
                  <a:pt x="5222959" y="4809989"/>
                </a:cubicBezTo>
                <a:lnTo>
                  <a:pt x="5174657" y="4812979"/>
                </a:lnTo>
                <a:lnTo>
                  <a:pt x="5156551" y="4820202"/>
                </a:lnTo>
                <a:lnTo>
                  <a:pt x="5142595" y="4823602"/>
                </a:lnTo>
                <a:lnTo>
                  <a:pt x="5139593" y="4825703"/>
                </a:lnTo>
                <a:cubicBezTo>
                  <a:pt x="5133873" y="4829743"/>
                  <a:pt x="5128076" y="4833554"/>
                  <a:pt x="5121656" y="4836556"/>
                </a:cubicBezTo>
                <a:cubicBezTo>
                  <a:pt x="5108317" y="4807937"/>
                  <a:pt x="5064853" y="4857373"/>
                  <a:pt x="5065787" y="4829985"/>
                </a:cubicBezTo>
                <a:cubicBezTo>
                  <a:pt x="5028193" y="4841501"/>
                  <a:pt x="5038944" y="4812412"/>
                  <a:pt x="5011510" y="4846366"/>
                </a:cubicBezTo>
                <a:cubicBezTo>
                  <a:pt x="4937023" y="4845983"/>
                  <a:pt x="4916353" y="4832976"/>
                  <a:pt x="4840437" y="4870383"/>
                </a:cubicBezTo>
                <a:cubicBezTo>
                  <a:pt x="4806739" y="4887025"/>
                  <a:pt x="4784106" y="4898171"/>
                  <a:pt x="4762444" y="4898151"/>
                </a:cubicBezTo>
                <a:cubicBezTo>
                  <a:pt x="4741323" y="4902652"/>
                  <a:pt x="4729481" y="4905474"/>
                  <a:pt x="4723182" y="4907166"/>
                </a:cubicBezTo>
                <a:lnTo>
                  <a:pt x="4721173" y="4907914"/>
                </a:lnTo>
                <a:lnTo>
                  <a:pt x="4715524" y="4906639"/>
                </a:lnTo>
                <a:cubicBezTo>
                  <a:pt x="4680148" y="4913595"/>
                  <a:pt x="4524744" y="4914403"/>
                  <a:pt x="4515810" y="4916541"/>
                </a:cubicBezTo>
                <a:cubicBezTo>
                  <a:pt x="4457819" y="4929653"/>
                  <a:pt x="4462659" y="4930394"/>
                  <a:pt x="4428539" y="4927192"/>
                </a:cubicBezTo>
                <a:cubicBezTo>
                  <a:pt x="4423303" y="4923821"/>
                  <a:pt x="4368974" y="4930115"/>
                  <a:pt x="4362872" y="4928538"/>
                </a:cubicBezTo>
                <a:lnTo>
                  <a:pt x="4316962" y="4921923"/>
                </a:lnTo>
                <a:lnTo>
                  <a:pt x="4315106" y="4923264"/>
                </a:lnTo>
                <a:cubicBezTo>
                  <a:pt x="4306123" y="4926635"/>
                  <a:pt x="4299993" y="4926634"/>
                  <a:pt x="4295140" y="4925143"/>
                </a:cubicBezTo>
                <a:lnTo>
                  <a:pt x="4290059" y="4922226"/>
                </a:lnTo>
                <a:lnTo>
                  <a:pt x="4276138" y="4922472"/>
                </a:lnTo>
                <a:lnTo>
                  <a:pt x="4248113" y="4920148"/>
                </a:lnTo>
                <a:lnTo>
                  <a:pt x="4202046" y="4922943"/>
                </a:lnTo>
                <a:cubicBezTo>
                  <a:pt x="4201945" y="4923363"/>
                  <a:pt x="4201842" y="4923782"/>
                  <a:pt x="4201741" y="4924202"/>
                </a:cubicBezTo>
                <a:cubicBezTo>
                  <a:pt x="4200116" y="4927039"/>
                  <a:pt x="4197140" y="4929158"/>
                  <a:pt x="4191245" y="4929836"/>
                </a:cubicBezTo>
                <a:cubicBezTo>
                  <a:pt x="4204212" y="4947125"/>
                  <a:pt x="4161274" y="4945230"/>
                  <a:pt x="4142742" y="4945701"/>
                </a:cubicBezTo>
                <a:cubicBezTo>
                  <a:pt x="4124717" y="4952767"/>
                  <a:pt x="4099099" y="4966347"/>
                  <a:pt x="4083094" y="4972234"/>
                </a:cubicBezTo>
                <a:lnTo>
                  <a:pt x="4074543" y="4973069"/>
                </a:lnTo>
                <a:cubicBezTo>
                  <a:pt x="4074504" y="4973170"/>
                  <a:pt x="4074463" y="4973269"/>
                  <a:pt x="4074424" y="4973368"/>
                </a:cubicBezTo>
                <a:cubicBezTo>
                  <a:pt x="4072678" y="4974152"/>
                  <a:pt x="4069906" y="4974653"/>
                  <a:pt x="4065507" y="4974812"/>
                </a:cubicBezTo>
                <a:lnTo>
                  <a:pt x="4058951" y="4974594"/>
                </a:lnTo>
                <a:lnTo>
                  <a:pt x="4042361" y="4976215"/>
                </a:lnTo>
                <a:lnTo>
                  <a:pt x="4036993" y="4978649"/>
                </a:lnTo>
                <a:lnTo>
                  <a:pt x="4035360" y="4982316"/>
                </a:lnTo>
                <a:lnTo>
                  <a:pt x="4033775" y="4982081"/>
                </a:lnTo>
                <a:cubicBezTo>
                  <a:pt x="4021424" y="4977217"/>
                  <a:pt x="4016874" y="4968841"/>
                  <a:pt x="4004535" y="4994649"/>
                </a:cubicBezTo>
                <a:cubicBezTo>
                  <a:pt x="3976667" y="4987584"/>
                  <a:pt x="3972977" y="5002913"/>
                  <a:pt x="3936843" y="5012106"/>
                </a:cubicBezTo>
                <a:cubicBezTo>
                  <a:pt x="3920506" y="5004382"/>
                  <a:pt x="3908535" y="5009071"/>
                  <a:pt x="3897272" y="5017761"/>
                </a:cubicBezTo>
                <a:cubicBezTo>
                  <a:pt x="3861092" y="5017265"/>
                  <a:pt x="3829628" y="5031135"/>
                  <a:pt x="3789757" y="5037999"/>
                </a:cubicBezTo>
                <a:cubicBezTo>
                  <a:pt x="3741007" y="5052705"/>
                  <a:pt x="3725129" y="5054682"/>
                  <a:pt x="3682510" y="5061922"/>
                </a:cubicBezTo>
                <a:lnTo>
                  <a:pt x="3610032" y="5094193"/>
                </a:lnTo>
                <a:lnTo>
                  <a:pt x="3603852" y="5092831"/>
                </a:lnTo>
                <a:cubicBezTo>
                  <a:pt x="3599580" y="5092212"/>
                  <a:pt x="3596726" y="5092212"/>
                  <a:pt x="3594733" y="5092667"/>
                </a:cubicBezTo>
                <a:lnTo>
                  <a:pt x="3594498" y="5092936"/>
                </a:lnTo>
                <a:lnTo>
                  <a:pt x="3585975" y="5092246"/>
                </a:lnTo>
                <a:cubicBezTo>
                  <a:pt x="3571623" y="5090455"/>
                  <a:pt x="3549389" y="5104654"/>
                  <a:pt x="3536132" y="5101945"/>
                </a:cubicBezTo>
                <a:cubicBezTo>
                  <a:pt x="3513940" y="5106241"/>
                  <a:pt x="3488622" y="5099976"/>
                  <a:pt x="3473220" y="5105606"/>
                </a:cubicBezTo>
                <a:lnTo>
                  <a:pt x="3400725" y="5117654"/>
                </a:lnTo>
                <a:lnTo>
                  <a:pt x="3375935" y="5106247"/>
                </a:lnTo>
                <a:lnTo>
                  <a:pt x="3348219" y="5109860"/>
                </a:lnTo>
                <a:cubicBezTo>
                  <a:pt x="3337206" y="5110533"/>
                  <a:pt x="3327054" y="5111295"/>
                  <a:pt x="3319639" y="5114795"/>
                </a:cubicBezTo>
                <a:lnTo>
                  <a:pt x="3248529" y="5133347"/>
                </a:lnTo>
                <a:lnTo>
                  <a:pt x="3210308" y="5119794"/>
                </a:lnTo>
                <a:cubicBezTo>
                  <a:pt x="3206088" y="5117870"/>
                  <a:pt x="3200152" y="5117326"/>
                  <a:pt x="3190375" y="5119915"/>
                </a:cubicBezTo>
                <a:lnTo>
                  <a:pt x="3188145" y="5121096"/>
                </a:lnTo>
                <a:cubicBezTo>
                  <a:pt x="3182625" y="5119116"/>
                  <a:pt x="3141856" y="5121682"/>
                  <a:pt x="3108596" y="5122416"/>
                </a:cubicBezTo>
                <a:cubicBezTo>
                  <a:pt x="3055968" y="5124842"/>
                  <a:pt x="3048940" y="5117475"/>
                  <a:pt x="2988584" y="5125502"/>
                </a:cubicBezTo>
                <a:cubicBezTo>
                  <a:pt x="2928853" y="5129690"/>
                  <a:pt x="2917951" y="5124649"/>
                  <a:pt x="2876540" y="5133019"/>
                </a:cubicBezTo>
                <a:lnTo>
                  <a:pt x="2626864" y="5133771"/>
                </a:lnTo>
                <a:cubicBezTo>
                  <a:pt x="2562348" y="5111858"/>
                  <a:pt x="2563422" y="5142456"/>
                  <a:pt x="2491422" y="5135486"/>
                </a:cubicBezTo>
                <a:cubicBezTo>
                  <a:pt x="2433091" y="5200962"/>
                  <a:pt x="2455709" y="5160483"/>
                  <a:pt x="2415617" y="5168715"/>
                </a:cubicBezTo>
                <a:lnTo>
                  <a:pt x="2290098" y="5166151"/>
                </a:lnTo>
                <a:cubicBezTo>
                  <a:pt x="2257057" y="5152522"/>
                  <a:pt x="2202458" y="5187690"/>
                  <a:pt x="2161714" y="5169302"/>
                </a:cubicBezTo>
                <a:cubicBezTo>
                  <a:pt x="2122714" y="5172302"/>
                  <a:pt x="2080450" y="5180350"/>
                  <a:pt x="2056089" y="5184144"/>
                </a:cubicBezTo>
                <a:cubicBezTo>
                  <a:pt x="2019828" y="5191108"/>
                  <a:pt x="1978839" y="5203797"/>
                  <a:pt x="1944153" y="5211084"/>
                </a:cubicBezTo>
                <a:cubicBezTo>
                  <a:pt x="1925867" y="5199079"/>
                  <a:pt x="1896027" y="5224183"/>
                  <a:pt x="1847968" y="5227868"/>
                </a:cubicBezTo>
                <a:cubicBezTo>
                  <a:pt x="1827977" y="5213971"/>
                  <a:pt x="1815570" y="5230544"/>
                  <a:pt x="1777083" y="5212267"/>
                </a:cubicBezTo>
                <a:cubicBezTo>
                  <a:pt x="1775439" y="5214216"/>
                  <a:pt x="1773397" y="5216035"/>
                  <a:pt x="1771025" y="5217668"/>
                </a:cubicBezTo>
                <a:cubicBezTo>
                  <a:pt x="1757251" y="5227146"/>
                  <a:pt x="1735528" y="5228402"/>
                  <a:pt x="1722509" y="5220470"/>
                </a:cubicBezTo>
                <a:cubicBezTo>
                  <a:pt x="1691779" y="5208440"/>
                  <a:pt x="1662321" y="5203305"/>
                  <a:pt x="1633941" y="5200774"/>
                </a:cubicBezTo>
                <a:lnTo>
                  <a:pt x="1586145" y="5210184"/>
                </a:lnTo>
                <a:cubicBezTo>
                  <a:pt x="1567948" y="5215416"/>
                  <a:pt x="1545900" y="5226363"/>
                  <a:pt x="1524748" y="5232173"/>
                </a:cubicBezTo>
                <a:cubicBezTo>
                  <a:pt x="1502586" y="5235395"/>
                  <a:pt x="1478013" y="5230993"/>
                  <a:pt x="1459242" y="5245044"/>
                </a:cubicBezTo>
                <a:cubicBezTo>
                  <a:pt x="1421474" y="5260197"/>
                  <a:pt x="1374524" y="5244220"/>
                  <a:pt x="1349457" y="5280705"/>
                </a:cubicBezTo>
                <a:cubicBezTo>
                  <a:pt x="1273276" y="5302389"/>
                  <a:pt x="1121512" y="5336260"/>
                  <a:pt x="1009212" y="5361227"/>
                </a:cubicBezTo>
                <a:cubicBezTo>
                  <a:pt x="939016" y="5373529"/>
                  <a:pt x="866895" y="5370149"/>
                  <a:pt x="808572" y="5377024"/>
                </a:cubicBezTo>
                <a:cubicBezTo>
                  <a:pt x="802823" y="5374184"/>
                  <a:pt x="726016" y="5397963"/>
                  <a:pt x="719549" y="5396991"/>
                </a:cubicBezTo>
                <a:lnTo>
                  <a:pt x="698795" y="5397657"/>
                </a:lnTo>
                <a:cubicBezTo>
                  <a:pt x="689833" y="5401894"/>
                  <a:pt x="683492" y="5402495"/>
                  <a:pt x="678327" y="5401487"/>
                </a:cubicBezTo>
                <a:lnTo>
                  <a:pt x="672784" y="5399085"/>
                </a:lnTo>
                <a:lnTo>
                  <a:pt x="658406" y="5400696"/>
                </a:lnTo>
                <a:lnTo>
                  <a:pt x="629185" y="5401132"/>
                </a:lnTo>
                <a:lnTo>
                  <a:pt x="624558" y="5403782"/>
                </a:lnTo>
                <a:lnTo>
                  <a:pt x="581798" y="5408438"/>
                </a:lnTo>
                <a:cubicBezTo>
                  <a:pt x="581736" y="5408865"/>
                  <a:pt x="581671" y="5409294"/>
                  <a:pt x="581608" y="5409722"/>
                </a:cubicBezTo>
                <a:cubicBezTo>
                  <a:pt x="580204" y="5412704"/>
                  <a:pt x="577331" y="5415106"/>
                  <a:pt x="571299" y="5416358"/>
                </a:cubicBezTo>
                <a:cubicBezTo>
                  <a:pt x="551623" y="5426267"/>
                  <a:pt x="484499" y="5459654"/>
                  <a:pt x="463549" y="5469173"/>
                </a:cubicBezTo>
                <a:cubicBezTo>
                  <a:pt x="453136" y="5470720"/>
                  <a:pt x="449731" y="5472678"/>
                  <a:pt x="445606" y="5473465"/>
                </a:cubicBezTo>
                <a:lnTo>
                  <a:pt x="438799" y="5473893"/>
                </a:lnTo>
                <a:cubicBezTo>
                  <a:pt x="417222" y="5482183"/>
                  <a:pt x="343312" y="5513407"/>
                  <a:pt x="316138" y="5523213"/>
                </a:cubicBezTo>
                <a:cubicBezTo>
                  <a:pt x="298481" y="5517132"/>
                  <a:pt x="286556" y="5522972"/>
                  <a:pt x="275748" y="5532726"/>
                </a:cubicBezTo>
                <a:cubicBezTo>
                  <a:pt x="238274" y="5535784"/>
                  <a:pt x="207076" y="5552679"/>
                  <a:pt x="166496" y="5563424"/>
                </a:cubicBezTo>
                <a:lnTo>
                  <a:pt x="0" y="5629888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780608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4C9D60-DDB7-38C5-6DAF-CBAEC526BAF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13">
            <a:extLst>
              <a:ext uri="{FF2B5EF4-FFF2-40B4-BE49-F238E27FC236}">
                <a16:creationId xmlns:a16="http://schemas.microsoft.com/office/drawing/2014/main" id="{7E6BFFAC-F5DE-ADBC-D519-0219DAB1032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2400" dirty="0"/>
              <a:t>Model 4 – Mobile Capacit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1BB779A-8421-3ECA-6B52-7F8274E2A33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95313" y="1636713"/>
            <a:ext cx="3556557" cy="4391930"/>
          </a:xfrm>
        </p:spPr>
        <p:txBody>
          <a:bodyPr/>
          <a:lstStyle/>
          <a:p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Staff are research nurses with honorary contract at trial site &amp; on study delegation lo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Unit travels to remote location and patients visit the unit, consent and have ctDNA test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C1A09F8-6831-2C97-41BE-8BA934257D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3FB0AF2-78ED-4B1E-B8C2-1E1D13111D37}" type="slidenum">
              <a:rPr lang="de-DE" smtClean="0"/>
              <a:t>20</a:t>
            </a:fld>
            <a:endParaRPr lang="de-DE"/>
          </a:p>
        </p:txBody>
      </p:sp>
      <p:pic>
        <p:nvPicPr>
          <p:cNvPr id="6" name="Picture 5" descr="A person and person wearing face masks&#10;&#10;Description automatically generated">
            <a:extLst>
              <a:ext uri="{FF2B5EF4-FFF2-40B4-BE49-F238E27FC236}">
                <a16:creationId xmlns:a16="http://schemas.microsoft.com/office/drawing/2014/main" id="{18FF561B-0903-C745-C56D-176E461F484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696465" y="1353236"/>
            <a:ext cx="6258838" cy="467540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18EF9703-51E9-5341-1B35-85E0D27031E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949" y="132100"/>
            <a:ext cx="1293025" cy="1202430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229231494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25" name="Rectangle 24">
            <a:extLst>
              <a:ext uri="{FF2B5EF4-FFF2-40B4-BE49-F238E27FC236}">
                <a16:creationId xmlns:a16="http://schemas.microsoft.com/office/drawing/2014/main" id="{848F64AA-5BE2-4280-BEFA-DC288118FCC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88952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A dog running on a beach&#10;&#10;Description automatically generated">
            <a:extLst>
              <a:ext uri="{FF2B5EF4-FFF2-40B4-BE49-F238E27FC236}">
                <a16:creationId xmlns:a16="http://schemas.microsoft.com/office/drawing/2014/main" id="{2179E9AF-D050-B528-7CAA-0F5014BB8C3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6334" r="-2" b="41884"/>
          <a:stretch/>
        </p:blipFill>
        <p:spPr>
          <a:xfrm>
            <a:off x="20" y="2"/>
            <a:ext cx="7534620" cy="4197368"/>
          </a:xfrm>
          <a:custGeom>
            <a:avLst/>
            <a:gdLst/>
            <a:ahLst/>
            <a:cxnLst/>
            <a:rect l="l" t="t" r="r" b="b"/>
            <a:pathLst>
              <a:path w="7534640" h="4197368">
                <a:moveTo>
                  <a:pt x="0" y="0"/>
                </a:moveTo>
                <a:lnTo>
                  <a:pt x="7534640" y="0"/>
                </a:lnTo>
                <a:lnTo>
                  <a:pt x="7534640" y="3832811"/>
                </a:lnTo>
                <a:lnTo>
                  <a:pt x="7344853" y="3826712"/>
                </a:lnTo>
                <a:cubicBezTo>
                  <a:pt x="7344853" y="3826712"/>
                  <a:pt x="7341511" y="3826712"/>
                  <a:pt x="7341511" y="3826712"/>
                </a:cubicBezTo>
                <a:cubicBezTo>
                  <a:pt x="7274667" y="3823370"/>
                  <a:pt x="7211169" y="3823370"/>
                  <a:pt x="7144324" y="3820027"/>
                </a:cubicBezTo>
                <a:cubicBezTo>
                  <a:pt x="6913719" y="3820027"/>
                  <a:pt x="6683113" y="3820027"/>
                  <a:pt x="6455848" y="3820027"/>
                </a:cubicBezTo>
                <a:cubicBezTo>
                  <a:pt x="6231926" y="3910265"/>
                  <a:pt x="5987951" y="3833396"/>
                  <a:pt x="5767372" y="3903581"/>
                </a:cubicBezTo>
                <a:cubicBezTo>
                  <a:pt x="5533423" y="3900239"/>
                  <a:pt x="5312845" y="3970423"/>
                  <a:pt x="5082238" y="4000503"/>
                </a:cubicBezTo>
                <a:cubicBezTo>
                  <a:pt x="4908446" y="4013871"/>
                  <a:pt x="4731314" y="3997160"/>
                  <a:pt x="4570892" y="4067345"/>
                </a:cubicBezTo>
                <a:cubicBezTo>
                  <a:pt x="4509063" y="4095753"/>
                  <a:pt x="4453918" y="4128339"/>
                  <a:pt x="4430941" y="4172622"/>
                </a:cubicBezTo>
                <a:lnTo>
                  <a:pt x="4423415" y="4197368"/>
                </a:lnTo>
                <a:lnTo>
                  <a:pt x="0" y="4197368"/>
                </a:lnTo>
                <a:close/>
              </a:path>
            </a:pathLst>
          </a:custGeom>
        </p:spPr>
      </p:pic>
      <p:pic>
        <p:nvPicPr>
          <p:cNvPr id="5" name="Picture 4" descr="A child standing on a beach&#10;&#10;Description automatically generated">
            <a:extLst>
              <a:ext uri="{FF2B5EF4-FFF2-40B4-BE49-F238E27FC236}">
                <a16:creationId xmlns:a16="http://schemas.microsoft.com/office/drawing/2014/main" id="{BD3C16A3-D694-B60C-1413-0D725FBDE7C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777" r="-1" b="35149"/>
          <a:stretch/>
        </p:blipFill>
        <p:spPr>
          <a:xfrm>
            <a:off x="7653536" y="1"/>
            <a:ext cx="4538463" cy="3877247"/>
          </a:xfrm>
          <a:custGeom>
            <a:avLst/>
            <a:gdLst/>
            <a:ahLst/>
            <a:cxnLst/>
            <a:rect l="l" t="t" r="r" b="b"/>
            <a:pathLst>
              <a:path w="4538463" h="3877247">
                <a:moveTo>
                  <a:pt x="0" y="0"/>
                </a:moveTo>
                <a:lnTo>
                  <a:pt x="4538463" y="0"/>
                </a:lnTo>
                <a:lnTo>
                  <a:pt x="4538463" y="3437173"/>
                </a:lnTo>
                <a:lnTo>
                  <a:pt x="4530710" y="3429000"/>
                </a:lnTo>
                <a:cubicBezTo>
                  <a:pt x="4370289" y="3495842"/>
                  <a:pt x="4239946" y="3686344"/>
                  <a:pt x="4056129" y="3636211"/>
                </a:cubicBezTo>
                <a:cubicBezTo>
                  <a:pt x="3872313" y="3589422"/>
                  <a:pt x="3788760" y="3830055"/>
                  <a:pt x="3618310" y="3756528"/>
                </a:cubicBezTo>
                <a:cubicBezTo>
                  <a:pt x="3394389" y="3823371"/>
                  <a:pt x="3163783" y="3823371"/>
                  <a:pt x="2933176" y="3810002"/>
                </a:cubicBezTo>
                <a:cubicBezTo>
                  <a:pt x="2702570" y="3840081"/>
                  <a:pt x="2471962" y="3873503"/>
                  <a:pt x="2238015" y="3850107"/>
                </a:cubicBezTo>
                <a:cubicBezTo>
                  <a:pt x="2007408" y="3870161"/>
                  <a:pt x="1783486" y="3883529"/>
                  <a:pt x="1552880" y="3863476"/>
                </a:cubicBezTo>
                <a:cubicBezTo>
                  <a:pt x="1322274" y="3886870"/>
                  <a:pt x="1091667" y="3876844"/>
                  <a:pt x="864402" y="3860134"/>
                </a:cubicBezTo>
                <a:cubicBezTo>
                  <a:pt x="757455" y="3860134"/>
                  <a:pt x="653849" y="3856792"/>
                  <a:pt x="546902" y="3856792"/>
                </a:cubicBezTo>
                <a:cubicBezTo>
                  <a:pt x="404861" y="3850108"/>
                  <a:pt x="262821" y="3845095"/>
                  <a:pt x="120363" y="3840499"/>
                </a:cubicBezTo>
                <a:lnTo>
                  <a:pt x="0" y="3836632"/>
                </a:lnTo>
                <a:close/>
              </a:path>
            </a:pathLst>
          </a:custGeom>
        </p:spPr>
      </p:pic>
      <p:pic>
        <p:nvPicPr>
          <p:cNvPr id="9" name="Picture 8" descr="A sandy beach with footprints in the sand&#10;&#10;Description automatically generated">
            <a:extLst>
              <a:ext uri="{FF2B5EF4-FFF2-40B4-BE49-F238E27FC236}">
                <a16:creationId xmlns:a16="http://schemas.microsoft.com/office/drawing/2014/main" id="{DE17159B-1948-4CD9-B5FC-F2DDC6BC9D14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t="19889" r="-1" b="30541"/>
          <a:stretch/>
        </p:blipFill>
        <p:spPr>
          <a:xfrm>
            <a:off x="1" y="4316255"/>
            <a:ext cx="6836850" cy="2541737"/>
          </a:xfrm>
          <a:custGeom>
            <a:avLst/>
            <a:gdLst/>
            <a:ahLst/>
            <a:cxnLst/>
            <a:rect l="l" t="t" r="r" b="b"/>
            <a:pathLst>
              <a:path w="6836850" h="2541737">
                <a:moveTo>
                  <a:pt x="0" y="0"/>
                </a:moveTo>
                <a:lnTo>
                  <a:pt x="4460098" y="0"/>
                </a:lnTo>
                <a:lnTo>
                  <a:pt x="4483996" y="31836"/>
                </a:lnTo>
                <a:cubicBezTo>
                  <a:pt x="4644419" y="28495"/>
                  <a:pt x="4627708" y="282495"/>
                  <a:pt x="4788129" y="245732"/>
                </a:cubicBezTo>
                <a:cubicBezTo>
                  <a:pt x="4754709" y="362707"/>
                  <a:pt x="4641076" y="302548"/>
                  <a:pt x="4600971" y="389443"/>
                </a:cubicBezTo>
                <a:cubicBezTo>
                  <a:pt x="4684524" y="462970"/>
                  <a:pt x="4844945" y="409497"/>
                  <a:pt x="4871683" y="563233"/>
                </a:cubicBezTo>
                <a:cubicBezTo>
                  <a:pt x="4838262" y="723655"/>
                  <a:pt x="4945210" y="703602"/>
                  <a:pt x="5032105" y="713629"/>
                </a:cubicBezTo>
                <a:cubicBezTo>
                  <a:pt x="5239317" y="733683"/>
                  <a:pt x="5439843" y="747050"/>
                  <a:pt x="5643713" y="780472"/>
                </a:cubicBezTo>
                <a:cubicBezTo>
                  <a:pt x="5693844" y="790498"/>
                  <a:pt x="5810819" y="767103"/>
                  <a:pt x="5800794" y="870709"/>
                </a:cubicBezTo>
                <a:cubicBezTo>
                  <a:pt x="5790767" y="954261"/>
                  <a:pt x="5700529" y="924184"/>
                  <a:pt x="5643713" y="927525"/>
                </a:cubicBezTo>
                <a:cubicBezTo>
                  <a:pt x="5329553" y="967632"/>
                  <a:pt x="5012052" y="904131"/>
                  <a:pt x="4701235" y="907472"/>
                </a:cubicBezTo>
                <a:cubicBezTo>
                  <a:pt x="4664472" y="907472"/>
                  <a:pt x="4657787" y="1017762"/>
                  <a:pt x="4577576" y="980999"/>
                </a:cubicBezTo>
                <a:cubicBezTo>
                  <a:pt x="4788129" y="1081263"/>
                  <a:pt x="5767372" y="1108001"/>
                  <a:pt x="6094900" y="1161474"/>
                </a:cubicBezTo>
                <a:cubicBezTo>
                  <a:pt x="5754004" y="1542477"/>
                  <a:pt x="5429817" y="1311870"/>
                  <a:pt x="5159105" y="1525765"/>
                </a:cubicBezTo>
                <a:cubicBezTo>
                  <a:pt x="5159105" y="1525765"/>
                  <a:pt x="5212580" y="1525765"/>
                  <a:pt x="5443187" y="1595950"/>
                </a:cubicBezTo>
                <a:cubicBezTo>
                  <a:pt x="5627002" y="1652765"/>
                  <a:pt x="5536765" y="1732976"/>
                  <a:pt x="6001321" y="1886715"/>
                </a:cubicBezTo>
                <a:cubicBezTo>
                  <a:pt x="5824188" y="1936846"/>
                  <a:pt x="5593581" y="1839925"/>
                  <a:pt x="5506685" y="2100610"/>
                </a:cubicBezTo>
                <a:cubicBezTo>
                  <a:pt x="5643713" y="2147401"/>
                  <a:pt x="5807477" y="2103953"/>
                  <a:pt x="5904398" y="2227611"/>
                </a:cubicBezTo>
                <a:cubicBezTo>
                  <a:pt x="5934478" y="2264375"/>
                  <a:pt x="5964557" y="2287770"/>
                  <a:pt x="6001321" y="2307821"/>
                </a:cubicBezTo>
                <a:cubicBezTo>
                  <a:pt x="5984612" y="2314507"/>
                  <a:pt x="5964557" y="2321190"/>
                  <a:pt x="5951188" y="2327874"/>
                </a:cubicBezTo>
                <a:cubicBezTo>
                  <a:pt x="5977925" y="2351271"/>
                  <a:pt x="6663060" y="2478270"/>
                  <a:pt x="6836850" y="2481613"/>
                </a:cubicBezTo>
                <a:cubicBezTo>
                  <a:pt x="6761652" y="2506679"/>
                  <a:pt x="6636845" y="2527828"/>
                  <a:pt x="6553814" y="2540165"/>
                </a:cubicBezTo>
                <a:lnTo>
                  <a:pt x="6542822" y="2541737"/>
                </a:lnTo>
                <a:lnTo>
                  <a:pt x="0" y="2541737"/>
                </a:lnTo>
                <a:close/>
              </a:path>
            </a:pathLst>
          </a:cu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98B6B3C-44F1-BD3F-0375-6C001B1F8C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343650" y="3996130"/>
            <a:ext cx="5505814" cy="1576910"/>
          </a:xfr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Increasing efficiency in screen heavy trials</a:t>
            </a:r>
          </a:p>
        </p:txBody>
      </p:sp>
    </p:spTree>
    <p:extLst>
      <p:ext uri="{BB962C8B-B14F-4D97-AF65-F5344CB8AC3E}">
        <p14:creationId xmlns:p14="http://schemas.microsoft.com/office/powerpoint/2010/main" val="124439397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7001E6-C9DD-A219-F3E6-28E767ABCF0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2400" b="1" i="1" dirty="0"/>
              <a:t>All </a:t>
            </a:r>
            <a:r>
              <a:rPr lang="en-US" sz="2400" dirty="0"/>
              <a:t>the burden on the local PI = single point of failur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9980107-6E65-7368-54B0-8DC247128D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358069-37E3-ED4E-A203-67995E824B8A}" type="slidenum">
              <a:rPr lang="en-US" smtClean="0"/>
              <a:t>22</a:t>
            </a:fld>
            <a:endParaRPr lang="en-US"/>
          </a:p>
        </p:txBody>
      </p:sp>
      <p:pic>
        <p:nvPicPr>
          <p:cNvPr id="10" name="Picture 9" descr="A screenshot of a computer&#10;&#10;Description automatically generated">
            <a:extLst>
              <a:ext uri="{FF2B5EF4-FFF2-40B4-BE49-F238E27FC236}">
                <a16:creationId xmlns:a16="http://schemas.microsoft.com/office/drawing/2014/main" id="{9A0F7CBF-3DBF-2455-5546-42D5497513F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7027" t="41830" r="23370" b="26232"/>
          <a:stretch/>
        </p:blipFill>
        <p:spPr>
          <a:xfrm>
            <a:off x="1149362" y="2106440"/>
            <a:ext cx="9416498" cy="3410466"/>
          </a:xfrm>
          <a:prstGeom prst="rect">
            <a:avLst/>
          </a:prstGeom>
        </p:spPr>
      </p:pic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BE32E7F3-CBDC-5D06-4B05-DE8836526F1D}"/>
              </a:ext>
            </a:extLst>
          </p:cNvPr>
          <p:cNvSpPr/>
          <p:nvPr/>
        </p:nvSpPr>
        <p:spPr>
          <a:xfrm>
            <a:off x="1322173" y="2106440"/>
            <a:ext cx="9341708" cy="2045430"/>
          </a:xfrm>
          <a:prstGeom prst="roundRect">
            <a:avLst/>
          </a:prstGeom>
          <a:noFill/>
          <a:ln w="571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3B4DF8A-619C-0524-3E9D-03470A0FE7DA}"/>
              </a:ext>
            </a:extLst>
          </p:cNvPr>
          <p:cNvSpPr txBox="1"/>
          <p:nvPr/>
        </p:nvSpPr>
        <p:spPr>
          <a:xfrm>
            <a:off x="4979773" y="1556951"/>
            <a:ext cx="190294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PI activit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E50AC976-8689-AD0C-D340-BE2A2D57AB1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949" y="132100"/>
            <a:ext cx="1293025" cy="1202430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  <a:solidFill>
            <a:srgbClr val="FAFAFA"/>
          </a:solidFill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D9AF0E0F-CAA1-E971-5552-C84FDAB8CA3A}"/>
              </a:ext>
            </a:extLst>
          </p:cNvPr>
          <p:cNvSpPr txBox="1"/>
          <p:nvPr/>
        </p:nvSpPr>
        <p:spPr>
          <a:xfrm>
            <a:off x="4843852" y="5546383"/>
            <a:ext cx="7274010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/>
              <a:t>Effort ∝ reward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/>
              <a:t>100 patient conversations &amp; consents = 6 </a:t>
            </a:r>
            <a:r>
              <a:rPr lang="en-US" sz="2000" dirty="0" err="1"/>
              <a:t>randomisations</a:t>
            </a:r>
            <a:endParaRPr lang="en-US" sz="2000" dirty="0"/>
          </a:p>
          <a:p>
            <a:pPr algn="l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387578557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4364F5E-08AC-B73F-5FAF-7B0F9886ADC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B9982AB-34EE-80D2-3262-C3970E749A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sz="2400" dirty="0"/>
              <a:t>Focus PI activity on PI skillset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BFDA0D1-98CA-E59E-4CAC-A83BDE82121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358069-37E3-ED4E-A203-67995E824B8A}" type="slidenum">
              <a:rPr lang="en-US" smtClean="0"/>
              <a:t>23</a:t>
            </a:fld>
            <a:endParaRPr lang="en-US"/>
          </a:p>
        </p:txBody>
      </p:sp>
      <p:pic>
        <p:nvPicPr>
          <p:cNvPr id="10" name="Picture 9" descr="A screenshot of a computer&#10;&#10;Description automatically generated">
            <a:extLst>
              <a:ext uri="{FF2B5EF4-FFF2-40B4-BE49-F238E27FC236}">
                <a16:creationId xmlns:a16="http://schemas.microsoft.com/office/drawing/2014/main" id="{D0998B15-F5ED-BDCB-EE5B-5ACC1AF4E09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7027" t="41830" r="23370" b="26232"/>
          <a:stretch/>
        </p:blipFill>
        <p:spPr>
          <a:xfrm>
            <a:off x="753946" y="2135917"/>
            <a:ext cx="9416498" cy="3410466"/>
          </a:xfrm>
          <a:prstGeom prst="rect">
            <a:avLst/>
          </a:prstGeom>
        </p:spPr>
      </p:pic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DD21F8FE-6B53-4A95-0E0F-89E919846837}"/>
              </a:ext>
            </a:extLst>
          </p:cNvPr>
          <p:cNvSpPr/>
          <p:nvPr/>
        </p:nvSpPr>
        <p:spPr>
          <a:xfrm>
            <a:off x="3385748" y="2106440"/>
            <a:ext cx="6870357" cy="2045430"/>
          </a:xfrm>
          <a:prstGeom prst="roundRect">
            <a:avLst/>
          </a:prstGeom>
          <a:noFill/>
          <a:ln w="571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C433C84-CC14-9405-1F18-998C59930341}"/>
              </a:ext>
            </a:extLst>
          </p:cNvPr>
          <p:cNvSpPr txBox="1"/>
          <p:nvPr/>
        </p:nvSpPr>
        <p:spPr>
          <a:xfrm>
            <a:off x="5462195" y="1672083"/>
            <a:ext cx="190294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rgbClr val="FF0000"/>
                </a:solidFill>
              </a:rPr>
              <a:t>PI activity</a:t>
            </a:r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7AECC81C-F47D-3EAE-A2D0-EBF4F2270476}"/>
              </a:ext>
            </a:extLst>
          </p:cNvPr>
          <p:cNvSpPr/>
          <p:nvPr/>
        </p:nvSpPr>
        <p:spPr>
          <a:xfrm>
            <a:off x="677798" y="2098199"/>
            <a:ext cx="2621453" cy="2045430"/>
          </a:xfrm>
          <a:prstGeom prst="roundRect">
            <a:avLst/>
          </a:prstGeom>
          <a:noFill/>
          <a:ln w="57150">
            <a:solidFill>
              <a:srgbClr val="00B0F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42237F6-FE1B-CB1D-CEBA-B24A2BBC3DFE}"/>
              </a:ext>
            </a:extLst>
          </p:cNvPr>
          <p:cNvSpPr txBox="1"/>
          <p:nvPr/>
        </p:nvSpPr>
        <p:spPr>
          <a:xfrm>
            <a:off x="1037053" y="1701560"/>
            <a:ext cx="1902941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dirty="0">
                <a:solidFill>
                  <a:srgbClr val="00B0F0"/>
                </a:solidFill>
              </a:rPr>
              <a:t>Devolved activity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634C170-DFA3-7B1F-34A6-6BFBF554D5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949" y="132100"/>
            <a:ext cx="1293025" cy="1202430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  <a:solidFill>
            <a:srgbClr val="FAFAFA"/>
          </a:solidFill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3D47A462-54C3-6EB5-57AD-0FC81D0E57EB}"/>
              </a:ext>
            </a:extLst>
          </p:cNvPr>
          <p:cNvSpPr txBox="1"/>
          <p:nvPr/>
        </p:nvSpPr>
        <p:spPr>
          <a:xfrm>
            <a:off x="4831492" y="5546383"/>
            <a:ext cx="7138086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 algn="l">
              <a:buFont typeface="Arial" panose="020B0604020202020204" pitchFamily="34" charset="0"/>
              <a:buChar char="•"/>
            </a:pPr>
            <a:r>
              <a:rPr lang="en-US" sz="2000" dirty="0"/>
              <a:t>Effort ∝ reward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en-US" sz="2000" dirty="0"/>
              <a:t>15 patient conversations &amp; consents = 6 </a:t>
            </a:r>
            <a:r>
              <a:rPr lang="en-US" sz="2000" dirty="0" err="1"/>
              <a:t>randomisations</a:t>
            </a:r>
            <a:endParaRPr lang="en-US" sz="2000" dirty="0"/>
          </a:p>
          <a:p>
            <a:pPr algn="l"/>
            <a:endParaRPr lang="en-US" sz="2000" dirty="0"/>
          </a:p>
        </p:txBody>
      </p:sp>
    </p:spTree>
    <p:extLst>
      <p:ext uri="{BB962C8B-B14F-4D97-AF65-F5344CB8AC3E}">
        <p14:creationId xmlns:p14="http://schemas.microsoft.com/office/powerpoint/2010/main" val="2661090116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FF348F0-0B86-0209-F623-B9294C5061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62232" y="121219"/>
            <a:ext cx="9445024" cy="615553"/>
          </a:xfrm>
        </p:spPr>
        <p:txBody>
          <a:bodyPr/>
          <a:lstStyle/>
          <a:p>
            <a:pPr algn="ctr"/>
            <a:r>
              <a:rPr lang="en-US" sz="2400" dirty="0"/>
              <a:t>Devolved activity - use surgeons to identify patients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65310FD-B175-894F-2E9B-238867F3E85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8358069-37E3-ED4E-A203-67995E824B8A}" type="slidenum">
              <a:rPr lang="en-US" smtClean="0"/>
              <a:t>24</a:t>
            </a:fld>
            <a:endParaRPr lang="en-US"/>
          </a:p>
        </p:txBody>
      </p:sp>
      <p:pic>
        <p:nvPicPr>
          <p:cNvPr id="6" name="Picture 5" descr="A screenshot of a computer&#10;&#10;Description automatically generated">
            <a:extLst>
              <a:ext uri="{FF2B5EF4-FFF2-40B4-BE49-F238E27FC236}">
                <a16:creationId xmlns:a16="http://schemas.microsoft.com/office/drawing/2014/main" id="{BC131D13-3A86-5E17-7DD1-4695A388D6F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7027" t="41830" r="23370" b="26232"/>
          <a:stretch/>
        </p:blipFill>
        <p:spPr>
          <a:xfrm>
            <a:off x="4223269" y="2447478"/>
            <a:ext cx="7193870" cy="2605475"/>
          </a:xfrm>
          <a:prstGeom prst="rect">
            <a:avLst/>
          </a:prstGeom>
        </p:spPr>
      </p:pic>
      <p:sp>
        <p:nvSpPr>
          <p:cNvPr id="7" name="Down Arrow 6">
            <a:extLst>
              <a:ext uri="{FF2B5EF4-FFF2-40B4-BE49-F238E27FC236}">
                <a16:creationId xmlns:a16="http://schemas.microsoft.com/office/drawing/2014/main" id="{0E6F3AEC-0205-94DF-09C7-600B2290D3EB}"/>
              </a:ext>
            </a:extLst>
          </p:cNvPr>
          <p:cNvSpPr/>
          <p:nvPr/>
        </p:nvSpPr>
        <p:spPr>
          <a:xfrm rot="16200000">
            <a:off x="2249650" y="2362523"/>
            <a:ext cx="804477" cy="2898301"/>
          </a:xfrm>
          <a:prstGeom prst="downArrow">
            <a:avLst/>
          </a:prstGeom>
          <a:solidFill>
            <a:srgbClr val="FFA6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144000" tIns="144000" rIns="144000" bIns="14400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urgical team C</a:t>
            </a:r>
          </a:p>
        </p:txBody>
      </p:sp>
      <p:sp>
        <p:nvSpPr>
          <p:cNvPr id="8" name="Down Arrow 7">
            <a:extLst>
              <a:ext uri="{FF2B5EF4-FFF2-40B4-BE49-F238E27FC236}">
                <a16:creationId xmlns:a16="http://schemas.microsoft.com/office/drawing/2014/main" id="{24F592F2-3A07-6E9B-6EF7-CE41CCB14841}"/>
              </a:ext>
            </a:extLst>
          </p:cNvPr>
          <p:cNvSpPr/>
          <p:nvPr/>
        </p:nvSpPr>
        <p:spPr>
          <a:xfrm rot="17577143">
            <a:off x="2072629" y="1379195"/>
            <a:ext cx="804477" cy="2898301"/>
          </a:xfrm>
          <a:prstGeom prst="downArrow">
            <a:avLst/>
          </a:prstGeom>
          <a:solidFill>
            <a:srgbClr val="FFA6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144000" tIns="144000" rIns="144000" bIns="14400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urgical team B</a:t>
            </a:r>
          </a:p>
        </p:txBody>
      </p:sp>
      <p:sp>
        <p:nvSpPr>
          <p:cNvPr id="9" name="Down Arrow 8">
            <a:extLst>
              <a:ext uri="{FF2B5EF4-FFF2-40B4-BE49-F238E27FC236}">
                <a16:creationId xmlns:a16="http://schemas.microsoft.com/office/drawing/2014/main" id="{7244D949-DD86-DE79-6C5D-1484B6275ACE}"/>
              </a:ext>
            </a:extLst>
          </p:cNvPr>
          <p:cNvSpPr/>
          <p:nvPr/>
        </p:nvSpPr>
        <p:spPr>
          <a:xfrm rot="18600382">
            <a:off x="2793336" y="861411"/>
            <a:ext cx="804477" cy="2898301"/>
          </a:xfrm>
          <a:prstGeom prst="downArrow">
            <a:avLst/>
          </a:prstGeom>
          <a:solidFill>
            <a:srgbClr val="FFA6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144000" tIns="144000" rIns="144000" bIns="14400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urgical team A</a:t>
            </a:r>
          </a:p>
        </p:txBody>
      </p:sp>
      <p:sp>
        <p:nvSpPr>
          <p:cNvPr id="12" name="Down Arrow 11">
            <a:extLst>
              <a:ext uri="{FF2B5EF4-FFF2-40B4-BE49-F238E27FC236}">
                <a16:creationId xmlns:a16="http://schemas.microsoft.com/office/drawing/2014/main" id="{5DB705F9-9A4E-CAEB-8868-FA95B382E1A1}"/>
              </a:ext>
            </a:extLst>
          </p:cNvPr>
          <p:cNvSpPr/>
          <p:nvPr/>
        </p:nvSpPr>
        <p:spPr>
          <a:xfrm rot="14697896">
            <a:off x="2055835" y="3408860"/>
            <a:ext cx="804477" cy="2818117"/>
          </a:xfrm>
          <a:prstGeom prst="downArrow">
            <a:avLst/>
          </a:prstGeom>
          <a:solidFill>
            <a:srgbClr val="FFA6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144000" tIns="144000" rIns="144000" bIns="14400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urgical team D</a:t>
            </a:r>
          </a:p>
        </p:txBody>
      </p:sp>
      <p:sp>
        <p:nvSpPr>
          <p:cNvPr id="13" name="Down Arrow 12">
            <a:extLst>
              <a:ext uri="{FF2B5EF4-FFF2-40B4-BE49-F238E27FC236}">
                <a16:creationId xmlns:a16="http://schemas.microsoft.com/office/drawing/2014/main" id="{CB1F10B5-CDAE-5746-6443-3F4A49D0355A}"/>
              </a:ext>
            </a:extLst>
          </p:cNvPr>
          <p:cNvSpPr/>
          <p:nvPr/>
        </p:nvSpPr>
        <p:spPr>
          <a:xfrm rot="13587195">
            <a:off x="2838974" y="3838027"/>
            <a:ext cx="804477" cy="2952995"/>
          </a:xfrm>
          <a:prstGeom prst="downArrow">
            <a:avLst/>
          </a:prstGeom>
          <a:solidFill>
            <a:srgbClr val="FFA62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lIns="144000" tIns="144000" rIns="144000" bIns="144000" rtlCol="0" anchor="ctr"/>
          <a:lstStyle/>
          <a:p>
            <a:pPr algn="ctr"/>
            <a:r>
              <a:rPr lang="en-US" sz="1400" dirty="0">
                <a:solidFill>
                  <a:schemeClr val="tx1"/>
                </a:solidFill>
              </a:rPr>
              <a:t>Surgical team 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B11423C-56B2-BA6B-E4EA-258B5117D3BA}"/>
              </a:ext>
            </a:extLst>
          </p:cNvPr>
          <p:cNvSpPr txBox="1"/>
          <p:nvPr/>
        </p:nvSpPr>
        <p:spPr>
          <a:xfrm>
            <a:off x="4044735" y="5673438"/>
            <a:ext cx="327454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/>
              <a:t>Awareness in local MDT discussions</a:t>
            </a:r>
          </a:p>
          <a:p>
            <a:pPr marL="285750" indent="-285750" algn="l">
              <a:buFont typeface="Arial" panose="020B0604020202020204" pitchFamily="34" charset="0"/>
              <a:buChar char="•"/>
            </a:pPr>
            <a:r>
              <a:rPr lang="en-US" sz="1400" dirty="0"/>
              <a:t>Record in MDT outcomes</a:t>
            </a:r>
          </a:p>
        </p:txBody>
      </p:sp>
      <p:pic>
        <p:nvPicPr>
          <p:cNvPr id="1026" name="Picture 2" descr="The Association of Coloproctology of Great Britain and Ireland - Bowel  Research UK :Bowel Research UK">
            <a:extLst>
              <a:ext uri="{FF2B5EF4-FFF2-40B4-BE49-F238E27FC236}">
                <a16:creationId xmlns:a16="http://schemas.microsoft.com/office/drawing/2014/main" id="{23645588-0842-E46F-17E5-7200D53337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70203" y="1170972"/>
            <a:ext cx="2589641" cy="1106818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Logos and Branding Guidelines | Secure Section | Supporters | ASGBI -  Association of Surgeons of GB">
            <a:extLst>
              <a:ext uri="{FF2B5EF4-FFF2-40B4-BE49-F238E27FC236}">
                <a16:creationId xmlns:a16="http://schemas.microsoft.com/office/drawing/2014/main" id="{01B3A5D1-6DF5-F055-56A1-879C3C3E88D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87254" y="1170972"/>
            <a:ext cx="2694609" cy="1106818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 descr="A screenshot of a computer&#10;&#10;Description automatically generated">
            <a:extLst>
              <a:ext uri="{FF2B5EF4-FFF2-40B4-BE49-F238E27FC236}">
                <a16:creationId xmlns:a16="http://schemas.microsoft.com/office/drawing/2014/main" id="{7B9A9986-8EC9-7BA2-4ABE-5318471D2030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5475" t="12193" r="4611" b="31094"/>
          <a:stretch/>
        </p:blipFill>
        <p:spPr>
          <a:xfrm>
            <a:off x="7584026" y="4464476"/>
            <a:ext cx="4258948" cy="1700096"/>
          </a:xfrm>
          <a:prstGeom prst="rect">
            <a:avLst/>
          </a:prstGeom>
          <a:ln w="12700">
            <a:solidFill>
              <a:schemeClr val="tx1"/>
            </a:solidFill>
          </a:ln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7359DDB4-06D6-C898-CDA5-DBAA31EF87E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27949" y="132100"/>
            <a:ext cx="1293025" cy="1202430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  <a:solidFill>
            <a:srgbClr val="FAFAFA"/>
          </a:solidFill>
        </p:spPr>
      </p:pic>
    </p:spTree>
    <p:extLst>
      <p:ext uri="{BB962C8B-B14F-4D97-AF65-F5344CB8AC3E}">
        <p14:creationId xmlns:p14="http://schemas.microsoft.com/office/powerpoint/2010/main" val="2498590730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9D24774-4848-3950-BEAE-EE7B8C580D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A5EF5119-FA7D-AF71-EC97-22400A7A805B}"/>
              </a:ext>
            </a:extLst>
          </p:cNvPr>
          <p:cNvCxnSpPr>
            <a:cxnSpLocks/>
          </p:cNvCxnSpPr>
          <p:nvPr/>
        </p:nvCxnSpPr>
        <p:spPr>
          <a:xfrm>
            <a:off x="4653920" y="2619632"/>
            <a:ext cx="0" cy="2631990"/>
          </a:xfrm>
          <a:prstGeom prst="line">
            <a:avLst/>
          </a:prstGeom>
          <a:ln w="3810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077F5B41-FB62-1F48-3688-16C43076038B}"/>
              </a:ext>
            </a:extLst>
          </p:cNvPr>
          <p:cNvSpPr txBox="1"/>
          <p:nvPr/>
        </p:nvSpPr>
        <p:spPr>
          <a:xfrm>
            <a:off x="1136836" y="2187228"/>
            <a:ext cx="2859518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Referring Surgical Team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4B324E5E-820A-A355-41DC-080182855490}"/>
              </a:ext>
            </a:extLst>
          </p:cNvPr>
          <p:cNvSpPr txBox="1"/>
          <p:nvPr/>
        </p:nvSpPr>
        <p:spPr>
          <a:xfrm>
            <a:off x="7167607" y="2187228"/>
            <a:ext cx="2324769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Trial Team</a:t>
            </a:r>
          </a:p>
        </p:txBody>
      </p:sp>
      <p:sp>
        <p:nvSpPr>
          <p:cNvPr id="47" name="Title 46">
            <a:extLst>
              <a:ext uri="{FF2B5EF4-FFF2-40B4-BE49-F238E27FC236}">
                <a16:creationId xmlns:a16="http://schemas.microsoft.com/office/drawing/2014/main" id="{A9DBB06C-A3CF-73A1-F608-7B228EA7B6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7381" y="-44876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2400" dirty="0"/>
              <a:t>Devolved activity - use surgeons to introduce trial</a:t>
            </a:r>
            <a:endParaRPr lang="en-US" sz="2400" i="1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D834B30A-1ABB-0A86-2136-2EA06B12BB6A}"/>
              </a:ext>
            </a:extLst>
          </p:cNvPr>
          <p:cNvGrpSpPr/>
          <p:nvPr/>
        </p:nvGrpSpPr>
        <p:grpSpPr>
          <a:xfrm>
            <a:off x="568263" y="3208549"/>
            <a:ext cx="11537540" cy="1290636"/>
            <a:chOff x="654460" y="4239637"/>
            <a:chExt cx="11537540" cy="1290636"/>
          </a:xfrm>
        </p:grpSpPr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297600A8-2BBC-4DFC-4877-34353774BDF4}"/>
                </a:ext>
              </a:extLst>
            </p:cNvPr>
            <p:cNvCxnSpPr>
              <a:cxnSpLocks/>
              <a:stCxn id="27" idx="0"/>
              <a:endCxn id="26" idx="1"/>
            </p:cNvCxnSpPr>
            <p:nvPr/>
          </p:nvCxnSpPr>
          <p:spPr>
            <a:xfrm flipV="1">
              <a:off x="4062091" y="4877250"/>
              <a:ext cx="2551366" cy="1671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15535C77-284D-7B80-34B3-9F69E9D79A60}"/>
                </a:ext>
              </a:extLst>
            </p:cNvPr>
            <p:cNvCxnSpPr>
              <a:cxnSpLocks/>
              <a:endCxn id="28" idx="1"/>
            </p:cNvCxnSpPr>
            <p:nvPr/>
          </p:nvCxnSpPr>
          <p:spPr>
            <a:xfrm>
              <a:off x="7652183" y="4860538"/>
              <a:ext cx="3259122" cy="557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ounded Rectangle 23">
              <a:extLst>
                <a:ext uri="{FF2B5EF4-FFF2-40B4-BE49-F238E27FC236}">
                  <a16:creationId xmlns:a16="http://schemas.microsoft.com/office/drawing/2014/main" id="{D4F0678A-3321-D9DB-BAB0-17A908100432}"/>
                </a:ext>
              </a:extLst>
            </p:cNvPr>
            <p:cNvSpPr/>
            <p:nvPr/>
          </p:nvSpPr>
          <p:spPr>
            <a:xfrm>
              <a:off x="1221880" y="4463274"/>
              <a:ext cx="1354242" cy="829734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lorectal surgery</a:t>
              </a:r>
            </a:p>
          </p:txBody>
        </p:sp>
        <p:sp>
          <p:nvSpPr>
            <p:cNvPr id="25" name="Rounded Rectangle 24">
              <a:extLst>
                <a:ext uri="{FF2B5EF4-FFF2-40B4-BE49-F238E27FC236}">
                  <a16:creationId xmlns:a16="http://schemas.microsoft.com/office/drawing/2014/main" id="{53CAAA4D-961C-BB70-D184-D66276C9EF1C}"/>
                </a:ext>
              </a:extLst>
            </p:cNvPr>
            <p:cNvSpPr/>
            <p:nvPr/>
          </p:nvSpPr>
          <p:spPr>
            <a:xfrm>
              <a:off x="2769937" y="4462383"/>
              <a:ext cx="1280695" cy="829734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Surgical</a:t>
              </a:r>
            </a:p>
            <a:p>
              <a:pPr algn="ctr"/>
              <a:r>
                <a:rPr lang="en-US" dirty="0"/>
                <a:t>OPD</a:t>
              </a:r>
            </a:p>
          </p:txBody>
        </p:sp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FC2BFF9E-CC13-7F56-3840-6289A5821F22}"/>
                </a:ext>
              </a:extLst>
            </p:cNvPr>
            <p:cNvSpPr/>
            <p:nvPr/>
          </p:nvSpPr>
          <p:spPr>
            <a:xfrm>
              <a:off x="6613457" y="4462383"/>
              <a:ext cx="1280695" cy="829734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Oncology</a:t>
              </a:r>
            </a:p>
            <a:p>
              <a:pPr algn="ctr"/>
              <a:r>
                <a:rPr lang="en-US" dirty="0"/>
                <a:t>OPD</a:t>
              </a:r>
            </a:p>
          </p:txBody>
        </p:sp>
        <p:sp>
          <p:nvSpPr>
            <p:cNvPr id="28" name="Rounded Rectangle 27">
              <a:extLst>
                <a:ext uri="{FF2B5EF4-FFF2-40B4-BE49-F238E27FC236}">
                  <a16:creationId xmlns:a16="http://schemas.microsoft.com/office/drawing/2014/main" id="{ECAE9799-0144-6B05-A528-7B7CBA3DF60A}"/>
                </a:ext>
              </a:extLst>
            </p:cNvPr>
            <p:cNvSpPr/>
            <p:nvPr/>
          </p:nvSpPr>
          <p:spPr>
            <a:xfrm>
              <a:off x="10911305" y="4451242"/>
              <a:ext cx="1280695" cy="829734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djuvant chemo</a:t>
              </a:r>
            </a:p>
          </p:txBody>
        </p:sp>
        <p:sp>
          <p:nvSpPr>
            <p:cNvPr id="29" name="Rounded Rectangle 28">
              <a:extLst>
                <a:ext uri="{FF2B5EF4-FFF2-40B4-BE49-F238E27FC236}">
                  <a16:creationId xmlns:a16="http://schemas.microsoft.com/office/drawing/2014/main" id="{3F0B399B-78DE-CF04-6ACE-2A22E9B46B9B}"/>
                </a:ext>
              </a:extLst>
            </p:cNvPr>
            <p:cNvSpPr/>
            <p:nvPr/>
          </p:nvSpPr>
          <p:spPr>
            <a:xfrm rot="16200000">
              <a:off x="4667271" y="4631867"/>
              <a:ext cx="892249" cy="497527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tact</a:t>
              </a:r>
            </a:p>
          </p:txBody>
        </p:sp>
        <p:sp>
          <p:nvSpPr>
            <p:cNvPr id="31" name="Rounded Rectangle 30">
              <a:extLst>
                <a:ext uri="{FF2B5EF4-FFF2-40B4-BE49-F238E27FC236}">
                  <a16:creationId xmlns:a16="http://schemas.microsoft.com/office/drawing/2014/main" id="{60A7E306-786E-D051-C9FD-09550B757B22}"/>
                </a:ext>
              </a:extLst>
            </p:cNvPr>
            <p:cNvSpPr/>
            <p:nvPr/>
          </p:nvSpPr>
          <p:spPr>
            <a:xfrm rot="16200000">
              <a:off x="5932797" y="4632276"/>
              <a:ext cx="840875" cy="497527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/>
                <a:t>ctDNA</a:t>
              </a:r>
            </a:p>
          </p:txBody>
        </p: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E7E37CD5-65EB-4953-D278-664332C68CC2}"/>
                </a:ext>
              </a:extLst>
            </p:cNvPr>
            <p:cNvCxnSpPr>
              <a:cxnSpLocks/>
              <a:stCxn id="24" idx="3"/>
              <a:endCxn id="25" idx="1"/>
            </p:cNvCxnSpPr>
            <p:nvPr/>
          </p:nvCxnSpPr>
          <p:spPr>
            <a:xfrm flipV="1">
              <a:off x="2576122" y="4877250"/>
              <a:ext cx="193815" cy="89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Rounded Rectangle 26">
              <a:extLst>
                <a:ext uri="{FF2B5EF4-FFF2-40B4-BE49-F238E27FC236}">
                  <a16:creationId xmlns:a16="http://schemas.microsoft.com/office/drawing/2014/main" id="{59F4E4AC-0511-10C5-A8B2-587717029995}"/>
                </a:ext>
              </a:extLst>
            </p:cNvPr>
            <p:cNvSpPr/>
            <p:nvPr/>
          </p:nvSpPr>
          <p:spPr>
            <a:xfrm rot="16200000">
              <a:off x="3890417" y="4645198"/>
              <a:ext cx="840875" cy="497527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PIS</a:t>
              </a:r>
            </a:p>
          </p:txBody>
        </p:sp>
        <p:sp>
          <p:nvSpPr>
            <p:cNvPr id="36" name="Rounded Rectangle 35">
              <a:extLst>
                <a:ext uri="{FF2B5EF4-FFF2-40B4-BE49-F238E27FC236}">
                  <a16:creationId xmlns:a16="http://schemas.microsoft.com/office/drawing/2014/main" id="{A20F8ADF-93B8-B593-93A9-7EA07116D7A7}"/>
                </a:ext>
              </a:extLst>
            </p:cNvPr>
            <p:cNvSpPr/>
            <p:nvPr/>
          </p:nvSpPr>
          <p:spPr>
            <a:xfrm rot="16200000">
              <a:off x="5401112" y="4631867"/>
              <a:ext cx="892249" cy="497527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sent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605BFC3F-69C3-AB21-5A07-D72B9D4AF0A8}"/>
                </a:ext>
              </a:extLst>
            </p:cNvPr>
            <p:cNvSpPr/>
            <p:nvPr/>
          </p:nvSpPr>
          <p:spPr>
            <a:xfrm>
              <a:off x="5534175" y="4364791"/>
              <a:ext cx="2454791" cy="1118937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25F0266D-E92C-58C6-D740-718DB945A38C}"/>
                </a:ext>
              </a:extLst>
            </p:cNvPr>
            <p:cNvSpPr/>
            <p:nvPr/>
          </p:nvSpPr>
          <p:spPr>
            <a:xfrm>
              <a:off x="2675922" y="4326136"/>
              <a:ext cx="1964395" cy="1118937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Rounded Rectangle 48">
              <a:extLst>
                <a:ext uri="{FF2B5EF4-FFF2-40B4-BE49-F238E27FC236}">
                  <a16:creationId xmlns:a16="http://schemas.microsoft.com/office/drawing/2014/main" id="{00A378E5-1A48-DF5B-51ED-8E2DA9C10E19}"/>
                </a:ext>
              </a:extLst>
            </p:cNvPr>
            <p:cNvSpPr/>
            <p:nvPr/>
          </p:nvSpPr>
          <p:spPr>
            <a:xfrm rot="16200000">
              <a:off x="257906" y="4636191"/>
              <a:ext cx="1290636" cy="497527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/>
                <a:t>Discussion</a:t>
              </a: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3BD443E9-1ACD-50AF-7909-0A419DC3A61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52" y="40780"/>
            <a:ext cx="1229388" cy="1143252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91AF0102-4A9C-3D35-759D-56C23896432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164" y="57958"/>
            <a:ext cx="1293025" cy="1202430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  <a:solidFill>
            <a:srgbClr val="FAFAFA"/>
          </a:solidFill>
        </p:spPr>
      </p:pic>
    </p:spTree>
    <p:extLst>
      <p:ext uri="{BB962C8B-B14F-4D97-AF65-F5344CB8AC3E}">
        <p14:creationId xmlns:p14="http://schemas.microsoft.com/office/powerpoint/2010/main" val="906831404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2AD31F6-0D48-B0B3-6A04-3DEE9186D174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C2D895FA-66F9-622D-EDBF-3316FCF44597}"/>
              </a:ext>
            </a:extLst>
          </p:cNvPr>
          <p:cNvCxnSpPr>
            <a:cxnSpLocks/>
          </p:cNvCxnSpPr>
          <p:nvPr/>
        </p:nvCxnSpPr>
        <p:spPr>
          <a:xfrm>
            <a:off x="4653920" y="2619632"/>
            <a:ext cx="0" cy="2631990"/>
          </a:xfrm>
          <a:prstGeom prst="line">
            <a:avLst/>
          </a:prstGeom>
          <a:ln w="3810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TextBox 39">
            <a:extLst>
              <a:ext uri="{FF2B5EF4-FFF2-40B4-BE49-F238E27FC236}">
                <a16:creationId xmlns:a16="http://schemas.microsoft.com/office/drawing/2014/main" id="{0BE00666-D421-70D5-BAFF-6A6431B4D92F}"/>
              </a:ext>
            </a:extLst>
          </p:cNvPr>
          <p:cNvSpPr txBox="1"/>
          <p:nvPr/>
        </p:nvSpPr>
        <p:spPr>
          <a:xfrm>
            <a:off x="7902769" y="1258451"/>
            <a:ext cx="2324769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Trial Team</a:t>
            </a:r>
          </a:p>
        </p:txBody>
      </p:sp>
      <p:sp>
        <p:nvSpPr>
          <p:cNvPr id="47" name="Title 46">
            <a:extLst>
              <a:ext uri="{FF2B5EF4-FFF2-40B4-BE49-F238E27FC236}">
                <a16:creationId xmlns:a16="http://schemas.microsoft.com/office/drawing/2014/main" id="{1D98BD6F-33EC-0992-0597-01F4A2E504F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9" y="-427937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2400" dirty="0"/>
              <a:t>Focus PI Activity on PI Skillset</a:t>
            </a:r>
            <a:endParaRPr lang="en-US" sz="2400" i="1" dirty="0"/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D283A34-F3AA-14E6-744E-E93CB046755A}"/>
              </a:ext>
            </a:extLst>
          </p:cNvPr>
          <p:cNvGrpSpPr/>
          <p:nvPr/>
        </p:nvGrpSpPr>
        <p:grpSpPr>
          <a:xfrm>
            <a:off x="568263" y="3208549"/>
            <a:ext cx="11438684" cy="1290636"/>
            <a:chOff x="654460" y="4239637"/>
            <a:chExt cx="11438684" cy="1290636"/>
          </a:xfrm>
        </p:grpSpPr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3B2022DF-FABF-BA9A-95CC-567C23E44B17}"/>
                </a:ext>
              </a:extLst>
            </p:cNvPr>
            <p:cNvCxnSpPr>
              <a:cxnSpLocks/>
              <a:stCxn id="27" idx="0"/>
              <a:endCxn id="26" idx="1"/>
            </p:cNvCxnSpPr>
            <p:nvPr/>
          </p:nvCxnSpPr>
          <p:spPr>
            <a:xfrm flipV="1">
              <a:off x="4062091" y="4877250"/>
              <a:ext cx="2551366" cy="1671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F28F0C64-3F84-3622-4225-DEEFFFED4575}"/>
                </a:ext>
              </a:extLst>
            </p:cNvPr>
            <p:cNvCxnSpPr>
              <a:cxnSpLocks/>
              <a:endCxn id="28" idx="1"/>
            </p:cNvCxnSpPr>
            <p:nvPr/>
          </p:nvCxnSpPr>
          <p:spPr>
            <a:xfrm>
              <a:off x="7553327" y="4860538"/>
              <a:ext cx="3259122" cy="557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ounded Rectangle 23">
              <a:extLst>
                <a:ext uri="{FF2B5EF4-FFF2-40B4-BE49-F238E27FC236}">
                  <a16:creationId xmlns:a16="http://schemas.microsoft.com/office/drawing/2014/main" id="{7AE4DFA1-8AA3-3E99-04A8-2EAEC9EA6801}"/>
                </a:ext>
              </a:extLst>
            </p:cNvPr>
            <p:cNvSpPr/>
            <p:nvPr/>
          </p:nvSpPr>
          <p:spPr>
            <a:xfrm>
              <a:off x="1221880" y="4463274"/>
              <a:ext cx="1354242" cy="829734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lorectal surgery</a:t>
              </a:r>
            </a:p>
          </p:txBody>
        </p:sp>
        <p:sp>
          <p:nvSpPr>
            <p:cNvPr id="25" name="Rounded Rectangle 24">
              <a:extLst>
                <a:ext uri="{FF2B5EF4-FFF2-40B4-BE49-F238E27FC236}">
                  <a16:creationId xmlns:a16="http://schemas.microsoft.com/office/drawing/2014/main" id="{F23F4F50-4BDC-C7E1-8237-470EFD06A7CF}"/>
                </a:ext>
              </a:extLst>
            </p:cNvPr>
            <p:cNvSpPr/>
            <p:nvPr/>
          </p:nvSpPr>
          <p:spPr>
            <a:xfrm>
              <a:off x="2769937" y="4462383"/>
              <a:ext cx="1280695" cy="829734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Surgical</a:t>
              </a:r>
            </a:p>
            <a:p>
              <a:pPr algn="ctr"/>
              <a:r>
                <a:rPr lang="en-US" dirty="0"/>
                <a:t>OPD</a:t>
              </a:r>
            </a:p>
          </p:txBody>
        </p:sp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632D68EE-9D94-5901-F811-B9D5C08F16F2}"/>
                </a:ext>
              </a:extLst>
            </p:cNvPr>
            <p:cNvSpPr/>
            <p:nvPr/>
          </p:nvSpPr>
          <p:spPr>
            <a:xfrm>
              <a:off x="6613457" y="4462383"/>
              <a:ext cx="1280695" cy="829734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Oncology</a:t>
              </a:r>
            </a:p>
            <a:p>
              <a:pPr algn="ctr"/>
              <a:r>
                <a:rPr lang="en-US" dirty="0"/>
                <a:t>OPD</a:t>
              </a:r>
            </a:p>
          </p:txBody>
        </p:sp>
        <p:sp>
          <p:nvSpPr>
            <p:cNvPr id="28" name="Rounded Rectangle 27">
              <a:extLst>
                <a:ext uri="{FF2B5EF4-FFF2-40B4-BE49-F238E27FC236}">
                  <a16:creationId xmlns:a16="http://schemas.microsoft.com/office/drawing/2014/main" id="{2CA50A43-7F26-220F-5ACA-904DADE294AE}"/>
                </a:ext>
              </a:extLst>
            </p:cNvPr>
            <p:cNvSpPr/>
            <p:nvPr/>
          </p:nvSpPr>
          <p:spPr>
            <a:xfrm>
              <a:off x="10812449" y="4451242"/>
              <a:ext cx="1280695" cy="829734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djuvant chemo</a:t>
              </a:r>
            </a:p>
          </p:txBody>
        </p:sp>
        <p:sp>
          <p:nvSpPr>
            <p:cNvPr id="29" name="Rounded Rectangle 28">
              <a:extLst>
                <a:ext uri="{FF2B5EF4-FFF2-40B4-BE49-F238E27FC236}">
                  <a16:creationId xmlns:a16="http://schemas.microsoft.com/office/drawing/2014/main" id="{80864A0A-7386-6FD5-15A7-2F18D33A8A3D}"/>
                </a:ext>
              </a:extLst>
            </p:cNvPr>
            <p:cNvSpPr/>
            <p:nvPr/>
          </p:nvSpPr>
          <p:spPr>
            <a:xfrm rot="16200000">
              <a:off x="4667271" y="4631867"/>
              <a:ext cx="892249" cy="497527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tact</a:t>
              </a:r>
            </a:p>
          </p:txBody>
        </p:sp>
        <p:sp>
          <p:nvSpPr>
            <p:cNvPr id="31" name="Rounded Rectangle 30">
              <a:extLst>
                <a:ext uri="{FF2B5EF4-FFF2-40B4-BE49-F238E27FC236}">
                  <a16:creationId xmlns:a16="http://schemas.microsoft.com/office/drawing/2014/main" id="{0EA28F97-6831-4399-2D1A-90346273F3C4}"/>
                </a:ext>
              </a:extLst>
            </p:cNvPr>
            <p:cNvSpPr/>
            <p:nvPr/>
          </p:nvSpPr>
          <p:spPr>
            <a:xfrm rot="16200000">
              <a:off x="5932797" y="4632276"/>
              <a:ext cx="840875" cy="497527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/>
                <a:t>ctDNA</a:t>
              </a:r>
            </a:p>
          </p:txBody>
        </p: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549D58F3-3ED8-8D3E-59B9-02A3B482C829}"/>
                </a:ext>
              </a:extLst>
            </p:cNvPr>
            <p:cNvCxnSpPr>
              <a:cxnSpLocks/>
              <a:stCxn id="24" idx="3"/>
              <a:endCxn id="25" idx="1"/>
            </p:cNvCxnSpPr>
            <p:nvPr/>
          </p:nvCxnSpPr>
          <p:spPr>
            <a:xfrm flipV="1">
              <a:off x="2576122" y="4877250"/>
              <a:ext cx="193815" cy="89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Rounded Rectangle 26">
              <a:extLst>
                <a:ext uri="{FF2B5EF4-FFF2-40B4-BE49-F238E27FC236}">
                  <a16:creationId xmlns:a16="http://schemas.microsoft.com/office/drawing/2014/main" id="{5F296CD0-9B14-5DAC-DBA4-27210B314C26}"/>
                </a:ext>
              </a:extLst>
            </p:cNvPr>
            <p:cNvSpPr/>
            <p:nvPr/>
          </p:nvSpPr>
          <p:spPr>
            <a:xfrm rot="16200000">
              <a:off x="3890417" y="4645198"/>
              <a:ext cx="840875" cy="497527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/>
                <a:t>PIS</a:t>
              </a:r>
            </a:p>
          </p:txBody>
        </p:sp>
        <p:sp>
          <p:nvSpPr>
            <p:cNvPr id="36" name="Rounded Rectangle 35">
              <a:extLst>
                <a:ext uri="{FF2B5EF4-FFF2-40B4-BE49-F238E27FC236}">
                  <a16:creationId xmlns:a16="http://schemas.microsoft.com/office/drawing/2014/main" id="{AC901C96-9A7F-9D1E-8A9F-323FFC0A2BAD}"/>
                </a:ext>
              </a:extLst>
            </p:cNvPr>
            <p:cNvSpPr/>
            <p:nvPr/>
          </p:nvSpPr>
          <p:spPr>
            <a:xfrm rot="16200000">
              <a:off x="5401112" y="4631867"/>
              <a:ext cx="892249" cy="497527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sent</a:t>
              </a:r>
            </a:p>
          </p:txBody>
        </p:sp>
        <p:sp>
          <p:nvSpPr>
            <p:cNvPr id="49" name="Rounded Rectangle 48">
              <a:extLst>
                <a:ext uri="{FF2B5EF4-FFF2-40B4-BE49-F238E27FC236}">
                  <a16:creationId xmlns:a16="http://schemas.microsoft.com/office/drawing/2014/main" id="{F31A710D-8A7F-370D-B6CF-BD6B66AA5888}"/>
                </a:ext>
              </a:extLst>
            </p:cNvPr>
            <p:cNvSpPr/>
            <p:nvPr/>
          </p:nvSpPr>
          <p:spPr>
            <a:xfrm rot="16200000">
              <a:off x="257906" y="4636191"/>
              <a:ext cx="1290636" cy="497527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/>
                <a:t>Discussion</a:t>
              </a: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B8E247A9-D192-EBC4-A5D3-C4EE7BB037F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52" y="40780"/>
            <a:ext cx="1229388" cy="1143252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</p:spPr>
      </p:pic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900F67A4-5ED6-F66C-3420-0E887AAD4B89}"/>
              </a:ext>
            </a:extLst>
          </p:cNvPr>
          <p:cNvSpPr/>
          <p:nvPr/>
        </p:nvSpPr>
        <p:spPr>
          <a:xfrm>
            <a:off x="6515800" y="2806735"/>
            <a:ext cx="5581465" cy="2045430"/>
          </a:xfrm>
          <a:prstGeom prst="roundRect">
            <a:avLst/>
          </a:prstGeom>
          <a:noFill/>
          <a:ln w="571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2F75ED0C-D64A-F58E-260B-A5D0BF0A1F19}"/>
              </a:ext>
            </a:extLst>
          </p:cNvPr>
          <p:cNvSpPr/>
          <p:nvPr/>
        </p:nvSpPr>
        <p:spPr>
          <a:xfrm>
            <a:off x="4726136" y="2806735"/>
            <a:ext cx="1760607" cy="2045430"/>
          </a:xfrm>
          <a:prstGeom prst="roundRect">
            <a:avLst/>
          </a:prstGeom>
          <a:noFill/>
          <a:ln w="57150">
            <a:solidFill>
              <a:srgbClr val="00B0F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70AEAC7-00B5-1C30-5AFE-50AD09359E69}"/>
              </a:ext>
            </a:extLst>
          </p:cNvPr>
          <p:cNvSpPr txBox="1"/>
          <p:nvPr/>
        </p:nvSpPr>
        <p:spPr>
          <a:xfrm>
            <a:off x="4662693" y="1978979"/>
            <a:ext cx="190294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>
                <a:solidFill>
                  <a:srgbClr val="00B0F0"/>
                </a:solidFill>
              </a:rPr>
              <a:t>Associate PI</a:t>
            </a:r>
          </a:p>
          <a:p>
            <a:pPr algn="ctr"/>
            <a:r>
              <a:rPr lang="en-US" sz="1600" dirty="0">
                <a:solidFill>
                  <a:srgbClr val="00B0F0"/>
                </a:solidFill>
              </a:rPr>
              <a:t>&amp; </a:t>
            </a:r>
          </a:p>
          <a:p>
            <a:pPr algn="ctr"/>
            <a:r>
              <a:rPr lang="en-US" sz="1600" dirty="0">
                <a:solidFill>
                  <a:srgbClr val="00B0F0"/>
                </a:solidFill>
              </a:rPr>
              <a:t>Research Nur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CA381A9-2267-A134-3811-65638BAEF4E1}"/>
              </a:ext>
            </a:extLst>
          </p:cNvPr>
          <p:cNvSpPr txBox="1"/>
          <p:nvPr/>
        </p:nvSpPr>
        <p:spPr>
          <a:xfrm>
            <a:off x="8402425" y="2253975"/>
            <a:ext cx="190294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>
                <a:solidFill>
                  <a:srgbClr val="FF0000"/>
                </a:solidFill>
              </a:rPr>
              <a:t>PI Activity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C2E96C56-48A3-3088-CB0D-98A2A424350B}"/>
              </a:ext>
            </a:extLst>
          </p:cNvPr>
          <p:cNvSpPr/>
          <p:nvPr/>
        </p:nvSpPr>
        <p:spPr>
          <a:xfrm>
            <a:off x="390836" y="2806735"/>
            <a:ext cx="4190869" cy="2045430"/>
          </a:xfrm>
          <a:prstGeom prst="roundRect">
            <a:avLst/>
          </a:prstGeom>
          <a:noFill/>
          <a:ln w="57150">
            <a:solidFill>
              <a:srgbClr val="7030A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748EC48A-A453-660D-155C-F5CE0E45F070}"/>
              </a:ext>
            </a:extLst>
          </p:cNvPr>
          <p:cNvSpPr txBox="1"/>
          <p:nvPr/>
        </p:nvSpPr>
        <p:spPr>
          <a:xfrm>
            <a:off x="1408620" y="2210983"/>
            <a:ext cx="190294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>
                <a:solidFill>
                  <a:srgbClr val="7030A0"/>
                </a:solidFill>
              </a:rPr>
              <a:t>Surgeon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ECBC349-4419-7568-2C60-B0CED2837C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093" y="33244"/>
            <a:ext cx="1293025" cy="1202430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  <a:solidFill>
            <a:schemeClr val="bg1"/>
          </a:solidFill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B40E8BE2-6A7B-E4E6-01DD-78EE4B2A9921}"/>
              </a:ext>
            </a:extLst>
          </p:cNvPr>
          <p:cNvSpPr txBox="1"/>
          <p:nvPr/>
        </p:nvSpPr>
        <p:spPr>
          <a:xfrm>
            <a:off x="1136836" y="1272824"/>
            <a:ext cx="2859518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Referring Surgical Team</a:t>
            </a:r>
          </a:p>
        </p:txBody>
      </p:sp>
    </p:spTree>
    <p:extLst>
      <p:ext uri="{BB962C8B-B14F-4D97-AF65-F5344CB8AC3E}">
        <p14:creationId xmlns:p14="http://schemas.microsoft.com/office/powerpoint/2010/main" val="3156247578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A03E8FF-3771-143F-5EE1-9CEF1DC8EC9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F635355C-8108-107D-6948-C0BE72A0414C}"/>
              </a:ext>
            </a:extLst>
          </p:cNvPr>
          <p:cNvCxnSpPr>
            <a:cxnSpLocks/>
          </p:cNvCxnSpPr>
          <p:nvPr/>
        </p:nvCxnSpPr>
        <p:spPr>
          <a:xfrm>
            <a:off x="4653920" y="2619632"/>
            <a:ext cx="0" cy="2631990"/>
          </a:xfrm>
          <a:prstGeom prst="line">
            <a:avLst/>
          </a:prstGeom>
          <a:ln w="38100">
            <a:solidFill>
              <a:srgbClr val="FF0000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>
            <a:extLst>
              <a:ext uri="{FF2B5EF4-FFF2-40B4-BE49-F238E27FC236}">
                <a16:creationId xmlns:a16="http://schemas.microsoft.com/office/drawing/2014/main" id="{239A38C3-A200-7C3B-8B4C-094B8CA32824}"/>
              </a:ext>
            </a:extLst>
          </p:cNvPr>
          <p:cNvSpPr txBox="1"/>
          <p:nvPr/>
        </p:nvSpPr>
        <p:spPr>
          <a:xfrm>
            <a:off x="1521355" y="1258451"/>
            <a:ext cx="2324769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Referring Team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BF51E6FB-246E-000C-051E-4FFD2A840B31}"/>
              </a:ext>
            </a:extLst>
          </p:cNvPr>
          <p:cNvSpPr txBox="1"/>
          <p:nvPr/>
        </p:nvSpPr>
        <p:spPr>
          <a:xfrm>
            <a:off x="7902769" y="1258451"/>
            <a:ext cx="2324769" cy="369332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en-US" dirty="0"/>
              <a:t>Trial Team</a:t>
            </a:r>
          </a:p>
        </p:txBody>
      </p:sp>
      <p:sp>
        <p:nvSpPr>
          <p:cNvPr id="47" name="Title 46">
            <a:extLst>
              <a:ext uri="{FF2B5EF4-FFF2-40B4-BE49-F238E27FC236}">
                <a16:creationId xmlns:a16="http://schemas.microsoft.com/office/drawing/2014/main" id="{CD9131EE-18E2-6560-0087-96A9EC89C1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03239" y="-427937"/>
            <a:ext cx="10515600" cy="1325563"/>
          </a:xfrm>
        </p:spPr>
        <p:txBody>
          <a:bodyPr>
            <a:normAutofit/>
          </a:bodyPr>
          <a:lstStyle/>
          <a:p>
            <a:pPr algn="ctr"/>
            <a:r>
              <a:rPr lang="en-US" sz="2400" dirty="0"/>
              <a:t>e-PIS to drive screening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EBD680F6-C7B6-F245-FE9F-4EC3DA605332}"/>
              </a:ext>
            </a:extLst>
          </p:cNvPr>
          <p:cNvGrpSpPr/>
          <p:nvPr/>
        </p:nvGrpSpPr>
        <p:grpSpPr>
          <a:xfrm>
            <a:off x="568263" y="3208549"/>
            <a:ext cx="11438684" cy="1290636"/>
            <a:chOff x="654460" y="4239637"/>
            <a:chExt cx="11438684" cy="1290636"/>
          </a:xfrm>
        </p:grpSpPr>
        <p:cxnSp>
          <p:nvCxnSpPr>
            <p:cNvPr id="33" name="Straight Arrow Connector 32">
              <a:extLst>
                <a:ext uri="{FF2B5EF4-FFF2-40B4-BE49-F238E27FC236}">
                  <a16:creationId xmlns:a16="http://schemas.microsoft.com/office/drawing/2014/main" id="{AB840B3C-767F-023F-DBDB-C9F49A698015}"/>
                </a:ext>
              </a:extLst>
            </p:cNvPr>
            <p:cNvCxnSpPr>
              <a:cxnSpLocks/>
              <a:stCxn id="27" idx="0"/>
              <a:endCxn id="26" idx="1"/>
            </p:cNvCxnSpPr>
            <p:nvPr/>
          </p:nvCxnSpPr>
          <p:spPr>
            <a:xfrm flipV="1">
              <a:off x="4062091" y="4877250"/>
              <a:ext cx="2551366" cy="1671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3" name="Straight Arrow Connector 22">
              <a:extLst>
                <a:ext uri="{FF2B5EF4-FFF2-40B4-BE49-F238E27FC236}">
                  <a16:creationId xmlns:a16="http://schemas.microsoft.com/office/drawing/2014/main" id="{63911090-A3BA-90B4-A929-D94F3630DD45}"/>
                </a:ext>
              </a:extLst>
            </p:cNvPr>
            <p:cNvCxnSpPr>
              <a:cxnSpLocks/>
              <a:endCxn id="28" idx="1"/>
            </p:cNvCxnSpPr>
            <p:nvPr/>
          </p:nvCxnSpPr>
          <p:spPr>
            <a:xfrm>
              <a:off x="7553327" y="4860538"/>
              <a:ext cx="3259122" cy="557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Rounded Rectangle 23">
              <a:extLst>
                <a:ext uri="{FF2B5EF4-FFF2-40B4-BE49-F238E27FC236}">
                  <a16:creationId xmlns:a16="http://schemas.microsoft.com/office/drawing/2014/main" id="{2802A112-3921-54FF-3A8E-2491241D70B0}"/>
                </a:ext>
              </a:extLst>
            </p:cNvPr>
            <p:cNvSpPr/>
            <p:nvPr/>
          </p:nvSpPr>
          <p:spPr>
            <a:xfrm>
              <a:off x="1221880" y="4463274"/>
              <a:ext cx="1354242" cy="829734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Colorectal surgery</a:t>
              </a:r>
            </a:p>
          </p:txBody>
        </p:sp>
        <p:sp>
          <p:nvSpPr>
            <p:cNvPr id="25" name="Rounded Rectangle 24">
              <a:extLst>
                <a:ext uri="{FF2B5EF4-FFF2-40B4-BE49-F238E27FC236}">
                  <a16:creationId xmlns:a16="http://schemas.microsoft.com/office/drawing/2014/main" id="{4C52C144-769B-EE1F-96F4-9C05369189DD}"/>
                </a:ext>
              </a:extLst>
            </p:cNvPr>
            <p:cNvSpPr/>
            <p:nvPr/>
          </p:nvSpPr>
          <p:spPr>
            <a:xfrm>
              <a:off x="2769937" y="4462383"/>
              <a:ext cx="1280695" cy="829734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Surgical</a:t>
              </a:r>
            </a:p>
            <a:p>
              <a:pPr algn="ctr"/>
              <a:r>
                <a:rPr lang="en-US" dirty="0"/>
                <a:t>OPD</a:t>
              </a:r>
            </a:p>
          </p:txBody>
        </p:sp>
        <p:sp>
          <p:nvSpPr>
            <p:cNvPr id="26" name="Rounded Rectangle 25">
              <a:extLst>
                <a:ext uri="{FF2B5EF4-FFF2-40B4-BE49-F238E27FC236}">
                  <a16:creationId xmlns:a16="http://schemas.microsoft.com/office/drawing/2014/main" id="{7E9D75A7-7DED-DB5D-B83F-A8428307CA9F}"/>
                </a:ext>
              </a:extLst>
            </p:cNvPr>
            <p:cNvSpPr/>
            <p:nvPr/>
          </p:nvSpPr>
          <p:spPr>
            <a:xfrm>
              <a:off x="6613457" y="4462383"/>
              <a:ext cx="1280695" cy="829734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Oncology</a:t>
              </a:r>
            </a:p>
            <a:p>
              <a:pPr algn="ctr"/>
              <a:r>
                <a:rPr lang="en-US" dirty="0"/>
                <a:t>OPD</a:t>
              </a:r>
            </a:p>
          </p:txBody>
        </p:sp>
        <p:sp>
          <p:nvSpPr>
            <p:cNvPr id="28" name="Rounded Rectangle 27">
              <a:extLst>
                <a:ext uri="{FF2B5EF4-FFF2-40B4-BE49-F238E27FC236}">
                  <a16:creationId xmlns:a16="http://schemas.microsoft.com/office/drawing/2014/main" id="{E15EC378-7394-F3ED-6830-20E059FA2639}"/>
                </a:ext>
              </a:extLst>
            </p:cNvPr>
            <p:cNvSpPr/>
            <p:nvPr/>
          </p:nvSpPr>
          <p:spPr>
            <a:xfrm>
              <a:off x="10812449" y="4451242"/>
              <a:ext cx="1280695" cy="829734"/>
            </a:xfrm>
            <a:prstGeom prst="roundRect">
              <a:avLst/>
            </a:prstGeom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dirty="0"/>
                <a:t>Adjuvant chemo</a:t>
              </a:r>
            </a:p>
          </p:txBody>
        </p:sp>
        <p:sp>
          <p:nvSpPr>
            <p:cNvPr id="29" name="Rounded Rectangle 28">
              <a:extLst>
                <a:ext uri="{FF2B5EF4-FFF2-40B4-BE49-F238E27FC236}">
                  <a16:creationId xmlns:a16="http://schemas.microsoft.com/office/drawing/2014/main" id="{0D17BE9E-0BF7-7E66-F9D1-37DFBD280D7C}"/>
                </a:ext>
              </a:extLst>
            </p:cNvPr>
            <p:cNvSpPr/>
            <p:nvPr/>
          </p:nvSpPr>
          <p:spPr>
            <a:xfrm rot="16200000">
              <a:off x="4667271" y="4631867"/>
              <a:ext cx="892249" cy="497527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tact</a:t>
              </a:r>
            </a:p>
          </p:txBody>
        </p:sp>
        <p:sp>
          <p:nvSpPr>
            <p:cNvPr id="31" name="Rounded Rectangle 30">
              <a:extLst>
                <a:ext uri="{FF2B5EF4-FFF2-40B4-BE49-F238E27FC236}">
                  <a16:creationId xmlns:a16="http://schemas.microsoft.com/office/drawing/2014/main" id="{87C0F39B-BB48-986B-9194-9503D1F586C0}"/>
                </a:ext>
              </a:extLst>
            </p:cNvPr>
            <p:cNvSpPr/>
            <p:nvPr/>
          </p:nvSpPr>
          <p:spPr>
            <a:xfrm rot="16200000">
              <a:off x="5932797" y="4632276"/>
              <a:ext cx="840875" cy="497527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/>
                <a:t>ctDNA</a:t>
              </a:r>
            </a:p>
          </p:txBody>
        </p:sp>
        <p:cxnSp>
          <p:nvCxnSpPr>
            <p:cNvPr id="32" name="Straight Arrow Connector 31">
              <a:extLst>
                <a:ext uri="{FF2B5EF4-FFF2-40B4-BE49-F238E27FC236}">
                  <a16:creationId xmlns:a16="http://schemas.microsoft.com/office/drawing/2014/main" id="{43B58B1C-EF83-0CCA-ACAA-3C02E296A985}"/>
                </a:ext>
              </a:extLst>
            </p:cNvPr>
            <p:cNvCxnSpPr>
              <a:cxnSpLocks/>
              <a:stCxn id="24" idx="3"/>
              <a:endCxn id="25" idx="1"/>
            </p:cNvCxnSpPr>
            <p:nvPr/>
          </p:nvCxnSpPr>
          <p:spPr>
            <a:xfrm flipV="1">
              <a:off x="2576122" y="4877250"/>
              <a:ext cx="193815" cy="891"/>
            </a:xfrm>
            <a:prstGeom prst="straightConnector1">
              <a:avLst/>
            </a:prstGeom>
            <a:ln w="38100"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Rounded Rectangle 26">
              <a:extLst>
                <a:ext uri="{FF2B5EF4-FFF2-40B4-BE49-F238E27FC236}">
                  <a16:creationId xmlns:a16="http://schemas.microsoft.com/office/drawing/2014/main" id="{FA37D9BF-1267-9288-3322-305A3C7E6D15}"/>
                </a:ext>
              </a:extLst>
            </p:cNvPr>
            <p:cNvSpPr/>
            <p:nvPr/>
          </p:nvSpPr>
          <p:spPr>
            <a:xfrm rot="16200000">
              <a:off x="3890417" y="4645198"/>
              <a:ext cx="840875" cy="497527"/>
            </a:xfrm>
            <a:prstGeom prst="round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600" dirty="0">
                  <a:solidFill>
                    <a:srgbClr val="FFFF00"/>
                  </a:solidFill>
                </a:rPr>
                <a:t>e-PIS</a:t>
              </a:r>
            </a:p>
          </p:txBody>
        </p:sp>
        <p:sp>
          <p:nvSpPr>
            <p:cNvPr id="36" name="Rounded Rectangle 35">
              <a:extLst>
                <a:ext uri="{FF2B5EF4-FFF2-40B4-BE49-F238E27FC236}">
                  <a16:creationId xmlns:a16="http://schemas.microsoft.com/office/drawing/2014/main" id="{6275B5C0-9D49-CD2E-045E-E021763D0631}"/>
                </a:ext>
              </a:extLst>
            </p:cNvPr>
            <p:cNvSpPr/>
            <p:nvPr/>
          </p:nvSpPr>
          <p:spPr>
            <a:xfrm rot="16200000">
              <a:off x="5401112" y="4631867"/>
              <a:ext cx="892249" cy="497527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400" dirty="0"/>
                <a:t>Consent</a:t>
              </a:r>
            </a:p>
          </p:txBody>
        </p:sp>
        <p:sp>
          <p:nvSpPr>
            <p:cNvPr id="43" name="Rectangle 42">
              <a:extLst>
                <a:ext uri="{FF2B5EF4-FFF2-40B4-BE49-F238E27FC236}">
                  <a16:creationId xmlns:a16="http://schemas.microsoft.com/office/drawing/2014/main" id="{1B4E03DE-0302-73AA-93D9-8C11C81C5976}"/>
                </a:ext>
              </a:extLst>
            </p:cNvPr>
            <p:cNvSpPr/>
            <p:nvPr/>
          </p:nvSpPr>
          <p:spPr>
            <a:xfrm>
              <a:off x="5534175" y="4364791"/>
              <a:ext cx="2454791" cy="1118937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4" name="Rectangle 43">
              <a:extLst>
                <a:ext uri="{FF2B5EF4-FFF2-40B4-BE49-F238E27FC236}">
                  <a16:creationId xmlns:a16="http://schemas.microsoft.com/office/drawing/2014/main" id="{D7BA3823-ECD2-4BBF-692F-AE88261F0451}"/>
                </a:ext>
              </a:extLst>
            </p:cNvPr>
            <p:cNvSpPr/>
            <p:nvPr/>
          </p:nvSpPr>
          <p:spPr>
            <a:xfrm>
              <a:off x="2675922" y="4326136"/>
              <a:ext cx="1964395" cy="1118937"/>
            </a:xfrm>
            <a:prstGeom prst="rect">
              <a:avLst/>
            </a:prstGeom>
            <a:noFill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9" name="Rounded Rectangle 48">
              <a:extLst>
                <a:ext uri="{FF2B5EF4-FFF2-40B4-BE49-F238E27FC236}">
                  <a16:creationId xmlns:a16="http://schemas.microsoft.com/office/drawing/2014/main" id="{3A6E0B28-E278-9917-6A71-9588E6EB3AC9}"/>
                </a:ext>
              </a:extLst>
            </p:cNvPr>
            <p:cNvSpPr/>
            <p:nvPr/>
          </p:nvSpPr>
          <p:spPr>
            <a:xfrm rot="16200000">
              <a:off x="257906" y="4636191"/>
              <a:ext cx="1290636" cy="497527"/>
            </a:xfrm>
            <a:prstGeom prst="roundRect">
              <a:avLst/>
            </a:prstGeom>
            <a:solidFill>
              <a:schemeClr val="accent2">
                <a:lumMod val="60000"/>
                <a:lumOff val="4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500" dirty="0"/>
                <a:t>Discussion</a:t>
              </a: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C2E71339-4222-D7A5-71F5-35F7BD7529E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52" y="40780"/>
            <a:ext cx="1229388" cy="1143252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</p:spPr>
      </p:pic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2A3A5102-CFC6-AABA-EA15-CC53D069C502}"/>
              </a:ext>
            </a:extLst>
          </p:cNvPr>
          <p:cNvSpPr/>
          <p:nvPr/>
        </p:nvSpPr>
        <p:spPr>
          <a:xfrm>
            <a:off x="6515800" y="2806735"/>
            <a:ext cx="5590003" cy="2045430"/>
          </a:xfrm>
          <a:prstGeom prst="roundRect">
            <a:avLst/>
          </a:prstGeom>
          <a:noFill/>
          <a:ln w="57150">
            <a:solidFill>
              <a:srgbClr val="FF000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4369D58F-C1D1-162D-20F1-65458E945135}"/>
              </a:ext>
            </a:extLst>
          </p:cNvPr>
          <p:cNvSpPr/>
          <p:nvPr/>
        </p:nvSpPr>
        <p:spPr>
          <a:xfrm>
            <a:off x="4726136" y="2806735"/>
            <a:ext cx="1760607" cy="2045430"/>
          </a:xfrm>
          <a:prstGeom prst="roundRect">
            <a:avLst/>
          </a:prstGeom>
          <a:noFill/>
          <a:ln w="57150">
            <a:solidFill>
              <a:srgbClr val="00B0F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4B683F3-B549-D930-7121-EBF5229AAFBC}"/>
              </a:ext>
            </a:extLst>
          </p:cNvPr>
          <p:cNvSpPr txBox="1"/>
          <p:nvPr/>
        </p:nvSpPr>
        <p:spPr>
          <a:xfrm>
            <a:off x="4662693" y="1978979"/>
            <a:ext cx="1902941" cy="7386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>
                <a:solidFill>
                  <a:srgbClr val="00B0F0"/>
                </a:solidFill>
              </a:rPr>
              <a:t>Associate PI</a:t>
            </a:r>
          </a:p>
          <a:p>
            <a:pPr algn="ctr"/>
            <a:r>
              <a:rPr lang="en-US" sz="1600" dirty="0">
                <a:solidFill>
                  <a:srgbClr val="00B0F0"/>
                </a:solidFill>
              </a:rPr>
              <a:t>&amp; </a:t>
            </a:r>
          </a:p>
          <a:p>
            <a:pPr algn="ctr"/>
            <a:r>
              <a:rPr lang="en-US" sz="1600" dirty="0">
                <a:solidFill>
                  <a:srgbClr val="00B0F0"/>
                </a:solidFill>
              </a:rPr>
              <a:t>Research Nurs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DD6DFC7-63E5-3B50-E07A-E3FBD987379F}"/>
              </a:ext>
            </a:extLst>
          </p:cNvPr>
          <p:cNvSpPr txBox="1"/>
          <p:nvPr/>
        </p:nvSpPr>
        <p:spPr>
          <a:xfrm>
            <a:off x="8402425" y="2253975"/>
            <a:ext cx="190294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>
                <a:solidFill>
                  <a:srgbClr val="FF0000"/>
                </a:solidFill>
              </a:rPr>
              <a:t>PI Activity</a:t>
            </a:r>
          </a:p>
        </p:txBody>
      </p:sp>
      <p:sp>
        <p:nvSpPr>
          <p:cNvPr id="8" name="Rounded Rectangle 7">
            <a:extLst>
              <a:ext uri="{FF2B5EF4-FFF2-40B4-BE49-F238E27FC236}">
                <a16:creationId xmlns:a16="http://schemas.microsoft.com/office/drawing/2014/main" id="{B2256124-DC63-E2FF-DB2C-B11C9B73DDB5}"/>
              </a:ext>
            </a:extLst>
          </p:cNvPr>
          <p:cNvSpPr/>
          <p:nvPr/>
        </p:nvSpPr>
        <p:spPr>
          <a:xfrm>
            <a:off x="390836" y="2806735"/>
            <a:ext cx="4190869" cy="2045430"/>
          </a:xfrm>
          <a:prstGeom prst="roundRect">
            <a:avLst/>
          </a:prstGeom>
          <a:noFill/>
          <a:ln w="57150">
            <a:solidFill>
              <a:srgbClr val="7030A0"/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ctr"/>
            <a:endParaRPr lang="en-US" sz="1400" dirty="0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1A6DD12-6246-506C-F584-DDC6DCA624FF}"/>
              </a:ext>
            </a:extLst>
          </p:cNvPr>
          <p:cNvSpPr txBox="1"/>
          <p:nvPr/>
        </p:nvSpPr>
        <p:spPr>
          <a:xfrm>
            <a:off x="1408620" y="2210983"/>
            <a:ext cx="1902941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600" dirty="0">
                <a:solidFill>
                  <a:srgbClr val="7030A0"/>
                </a:solidFill>
              </a:rPr>
              <a:t>Surgeons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EC9AE6D9-2AA6-0C7F-179C-8370C4B326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752" y="33287"/>
            <a:ext cx="1293025" cy="1202430"/>
          </a:xfrm>
          <a:custGeom>
            <a:avLst/>
            <a:gdLst/>
            <a:ahLst/>
            <a:cxnLst/>
            <a:rect l="l" t="t" r="r" b="b"/>
            <a:pathLst>
              <a:path w="4141760" h="4377846">
                <a:moveTo>
                  <a:pt x="0" y="0"/>
                </a:moveTo>
                <a:lnTo>
                  <a:pt x="4141760" y="0"/>
                </a:lnTo>
                <a:lnTo>
                  <a:pt x="4141760" y="4377846"/>
                </a:lnTo>
                <a:lnTo>
                  <a:pt x="0" y="4377846"/>
                </a:lnTo>
                <a:close/>
              </a:path>
            </a:pathLst>
          </a:custGeom>
          <a:solidFill>
            <a:srgbClr val="FAFAFA"/>
          </a:solidFill>
        </p:spPr>
      </p:pic>
    </p:spTree>
    <p:extLst>
      <p:ext uri="{BB962C8B-B14F-4D97-AF65-F5344CB8AC3E}">
        <p14:creationId xmlns:p14="http://schemas.microsoft.com/office/powerpoint/2010/main" val="211197816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screenshot of a computer&#10;&#10;Description automatically generated">
            <a:extLst>
              <a:ext uri="{FF2B5EF4-FFF2-40B4-BE49-F238E27FC236}">
                <a16:creationId xmlns:a16="http://schemas.microsoft.com/office/drawing/2014/main" id="{D175474D-D8B5-9CB5-36C6-F7916DB36CA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4833" t="19561" r="51326" b="45006"/>
          <a:stretch/>
        </p:blipFill>
        <p:spPr>
          <a:xfrm>
            <a:off x="5511452" y="2250415"/>
            <a:ext cx="1916208" cy="3065932"/>
          </a:xfrm>
          <a:prstGeom prst="rect">
            <a:avLst/>
          </a:prstGeom>
        </p:spPr>
      </p:pic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FF996B3A-8C9A-1F09-D542-698D3EB8007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4487" t="57024" r="51786" b="7543"/>
          <a:stretch/>
        </p:blipFill>
        <p:spPr>
          <a:xfrm>
            <a:off x="3411744" y="2258921"/>
            <a:ext cx="1900519" cy="3065932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6" name="Title 5">
            <a:extLst>
              <a:ext uri="{FF2B5EF4-FFF2-40B4-BE49-F238E27FC236}">
                <a16:creationId xmlns:a16="http://schemas.microsoft.com/office/drawing/2014/main" id="{AE72B2DC-F64E-2296-C382-5E1B6C1D8ED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/>
              <a:t>Devolving recruitment from the hub</a:t>
            </a:r>
          </a:p>
        </p:txBody>
      </p:sp>
    </p:spTree>
    <p:extLst>
      <p:ext uri="{BB962C8B-B14F-4D97-AF65-F5344CB8AC3E}">
        <p14:creationId xmlns:p14="http://schemas.microsoft.com/office/powerpoint/2010/main" val="395365668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9" name="Rectangle 8">
            <a:extLst>
              <a:ext uri="{FF2B5EF4-FFF2-40B4-BE49-F238E27FC236}">
                <a16:creationId xmlns:a16="http://schemas.microsoft.com/office/drawing/2014/main" id="{AB8C311F-7253-4AED-9701-7FC0708C41C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2384209-CB15-4CDF-9D31-C44FD9A3F20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2666617" y="-2666188"/>
            <a:ext cx="6858000" cy="12191233"/>
          </a:xfrm>
          <a:prstGeom prst="rect">
            <a:avLst/>
          </a:prstGeom>
          <a:gradFill>
            <a:gsLst>
              <a:gs pos="8000">
                <a:schemeClr val="accent1"/>
              </a:gs>
              <a:gs pos="100000">
                <a:schemeClr val="accent1">
                  <a:lumMod val="50000"/>
                </a:schemeClr>
              </a:gs>
            </a:gsLst>
            <a:lin ang="12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633B3B5-CC90-43F0-8714-D31D1F3F020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-2311" y="0"/>
            <a:ext cx="9070846" cy="6857572"/>
          </a:xfrm>
          <a:prstGeom prst="rect">
            <a:avLst/>
          </a:prstGeom>
          <a:gradFill>
            <a:gsLst>
              <a:gs pos="8000">
                <a:srgbClr val="000000">
                  <a:alpha val="52000"/>
                </a:srgbClr>
              </a:gs>
              <a:gs pos="100000">
                <a:schemeClr val="accent1"/>
              </a:gs>
            </a:gsLst>
            <a:lin ang="48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8D57A06-A426-446D-B02C-A2DC6B62E45E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 flipH="1">
            <a:off x="3649491" y="-1685840"/>
            <a:ext cx="4894564" cy="12193546"/>
          </a:xfrm>
          <a:prstGeom prst="rect">
            <a:avLst/>
          </a:prstGeom>
          <a:gradFill>
            <a:gsLst>
              <a:gs pos="0">
                <a:schemeClr val="accent5">
                  <a:lumMod val="60000"/>
                  <a:lumOff val="40000"/>
                  <a:alpha val="0"/>
                </a:schemeClr>
              </a:gs>
              <a:gs pos="100000">
                <a:srgbClr val="000000">
                  <a:alpha val="46000"/>
                </a:srgbClr>
              </a:gs>
            </a:gsLst>
            <a:lin ang="1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" name="bnt122-01_study (1080p).mp4">
            <a:hlinkClick r:id="" action="ppaction://media"/>
            <a:extLst>
              <a:ext uri="{FF2B5EF4-FFF2-40B4-BE49-F238E27FC236}">
                <a16:creationId xmlns:a16="http://schemas.microsoft.com/office/drawing/2014/main" id="{62327843-CF37-C240-BCE4-18AA80A6FBEE}"/>
              </a:ext>
            </a:extLst>
          </p:cNvPr>
          <p:cNvPicPr>
            <a:picLocks noGrp="1" noChangeAspect="1"/>
          </p:cNvPicPr>
          <p:nvPr>
            <p:ph idx="1"/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812797" y="457200"/>
            <a:ext cx="10566405" cy="594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89318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52083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4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4"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6C98FE7D-0318-8456-3D47-DB10D4BC935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92" imgH="591" progId="TCLayout.ActiveDocument.1">
                  <p:embed/>
                </p:oleObj>
              </mc:Choice>
              <mc:Fallback>
                <p:oleObj name="think-cell Slide" r:id="rId3" imgW="592" imgH="591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6C98FE7D-0318-8456-3D47-DB10D4BC935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E35181F6-9974-4ADD-5F9E-7CFEB0D412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pPr algn="ctr"/>
            <a:r>
              <a:rPr lang="en-US" sz="3000" dirty="0" err="1"/>
              <a:t>Autogene</a:t>
            </a:r>
            <a:r>
              <a:rPr lang="en-US" sz="3000" dirty="0"/>
              <a:t> </a:t>
            </a:r>
            <a:r>
              <a:rPr lang="en-US" sz="3000" dirty="0" err="1"/>
              <a:t>Cevuramen</a:t>
            </a:r>
            <a:r>
              <a:rPr lang="en-US" sz="3000" dirty="0"/>
              <a:t> - an individualized mRNA cancer vaccine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7457A0F-B7C7-8550-675C-FAE2FA13F33A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439" y="6622062"/>
            <a:ext cx="5257561" cy="138409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2MAY2023       CRN West Midlands Cancer Management Team Meeting</a:t>
            </a:r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42E0471B-964C-436E-FD28-E054BCCAC0F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3FB0AF2-78ED-4B1E-B8C2-1E1D13111D37}" type="slidenum">
              <a:rPr kumimoji="0" lang="de-DE" sz="8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Title 2">
            <a:extLst>
              <a:ext uri="{FF2B5EF4-FFF2-40B4-BE49-F238E27FC236}">
                <a16:creationId xmlns:a16="http://schemas.microsoft.com/office/drawing/2014/main" id="{E7B8986C-07C7-8BC9-7B61-23B53B10500E}"/>
              </a:ext>
            </a:extLst>
          </p:cNvPr>
          <p:cNvSpPr txBox="1">
            <a:spLocks/>
          </p:cNvSpPr>
          <p:nvPr/>
        </p:nvSpPr>
        <p:spPr>
          <a:xfrm>
            <a:off x="519177" y="548854"/>
            <a:ext cx="11169643" cy="56484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ts val="0"/>
              </a:spcBef>
              <a:buNone/>
              <a:defRPr sz="2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3C4447"/>
              </a:solidFill>
              <a:effectLst/>
              <a:uLnTx/>
              <a:uFillTx/>
              <a:latin typeface="Arial"/>
              <a:ea typeface="+mj-ea"/>
              <a:cs typeface="+mj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C7EED667-0D30-C737-DB09-9918E302A69F}"/>
              </a:ext>
            </a:extLst>
          </p:cNvPr>
          <p:cNvGrpSpPr/>
          <p:nvPr/>
        </p:nvGrpSpPr>
        <p:grpSpPr>
          <a:xfrm>
            <a:off x="742325" y="1814161"/>
            <a:ext cx="10359100" cy="1922176"/>
            <a:chOff x="515938" y="2459079"/>
            <a:chExt cx="11307986" cy="2098246"/>
          </a:xfrm>
        </p:grpSpPr>
        <p:pic>
          <p:nvPicPr>
            <p:cNvPr id="17" name="Picture 3" descr="A picture containing text, person, hitting, screenshot&#10;&#10;Description automatically generated">
              <a:extLst>
                <a:ext uri="{FF2B5EF4-FFF2-40B4-BE49-F238E27FC236}">
                  <a16:creationId xmlns:a16="http://schemas.microsoft.com/office/drawing/2014/main" id="{CECCB465-3D3C-DCBB-46B3-4CCAAFBE379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15938" y="2460547"/>
              <a:ext cx="11204667" cy="2096778"/>
            </a:xfrm>
            <a:prstGeom prst="rect">
              <a:avLst/>
            </a:prstGeom>
          </p:spPr>
        </p:pic>
        <p:sp>
          <p:nvSpPr>
            <p:cNvPr id="18" name="Ellipse 4">
              <a:extLst>
                <a:ext uri="{FF2B5EF4-FFF2-40B4-BE49-F238E27FC236}">
                  <a16:creationId xmlns:a16="http://schemas.microsoft.com/office/drawing/2014/main" id="{EEE2D8BE-1DF4-FE83-8ADD-D475A91B8865}"/>
                </a:ext>
              </a:extLst>
            </p:cNvPr>
            <p:cNvSpPr/>
            <p:nvPr/>
          </p:nvSpPr>
          <p:spPr>
            <a:xfrm>
              <a:off x="5636532" y="2506889"/>
              <a:ext cx="916214" cy="91621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Ellipse 12">
              <a:extLst>
                <a:ext uri="{FF2B5EF4-FFF2-40B4-BE49-F238E27FC236}">
                  <a16:creationId xmlns:a16="http://schemas.microsoft.com/office/drawing/2014/main" id="{E1208667-36F3-9C19-6267-04342EB25446}"/>
                </a:ext>
              </a:extLst>
            </p:cNvPr>
            <p:cNvSpPr/>
            <p:nvPr/>
          </p:nvSpPr>
          <p:spPr>
            <a:xfrm>
              <a:off x="991960" y="2497817"/>
              <a:ext cx="916214" cy="91621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0" name="Ellipse 13">
              <a:extLst>
                <a:ext uri="{FF2B5EF4-FFF2-40B4-BE49-F238E27FC236}">
                  <a16:creationId xmlns:a16="http://schemas.microsoft.com/office/drawing/2014/main" id="{4D8A2C41-9EAE-B6CB-CDD5-00230B0E7507}"/>
                </a:ext>
              </a:extLst>
            </p:cNvPr>
            <p:cNvSpPr/>
            <p:nvPr/>
          </p:nvSpPr>
          <p:spPr>
            <a:xfrm>
              <a:off x="7251246" y="2506888"/>
              <a:ext cx="916214" cy="91621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1" name="Ellipse 14">
              <a:extLst>
                <a:ext uri="{FF2B5EF4-FFF2-40B4-BE49-F238E27FC236}">
                  <a16:creationId xmlns:a16="http://schemas.microsoft.com/office/drawing/2014/main" id="{3FA0E92C-6FD4-9B81-55CD-CE8B3D649848}"/>
                </a:ext>
              </a:extLst>
            </p:cNvPr>
            <p:cNvSpPr/>
            <p:nvPr/>
          </p:nvSpPr>
          <p:spPr>
            <a:xfrm>
              <a:off x="8856888" y="2506887"/>
              <a:ext cx="916214" cy="91621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2" name="Ellipse 15">
              <a:extLst>
                <a:ext uri="{FF2B5EF4-FFF2-40B4-BE49-F238E27FC236}">
                  <a16:creationId xmlns:a16="http://schemas.microsoft.com/office/drawing/2014/main" id="{B265EF5A-532D-1705-8160-70BBCC77248E}"/>
                </a:ext>
              </a:extLst>
            </p:cNvPr>
            <p:cNvSpPr/>
            <p:nvPr/>
          </p:nvSpPr>
          <p:spPr>
            <a:xfrm>
              <a:off x="10326459" y="2506887"/>
              <a:ext cx="916214" cy="916214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23" name="manufacturing / Herstellung">
              <a:extLst>
                <a:ext uri="{FF2B5EF4-FFF2-40B4-BE49-F238E27FC236}">
                  <a16:creationId xmlns:a16="http://schemas.microsoft.com/office/drawing/2014/main" id="{28E0EF08-A046-E4D9-FE51-FBCE307CEE4E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5605912" y="2459079"/>
              <a:ext cx="951572" cy="951572"/>
            </a:xfrm>
            <a:prstGeom prst="rect">
              <a:avLst/>
            </a:prstGeom>
          </p:spPr>
        </p:pic>
        <p:pic>
          <p:nvPicPr>
            <p:cNvPr id="24" name="Individualized treatment / Personalisierte Behandlung">
              <a:extLst>
                <a:ext uri="{FF2B5EF4-FFF2-40B4-BE49-F238E27FC236}">
                  <a16:creationId xmlns:a16="http://schemas.microsoft.com/office/drawing/2014/main" id="{DB2FF609-B9A3-E461-6A9B-F1E29A90A019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8850898" y="2476324"/>
              <a:ext cx="951572" cy="951572"/>
            </a:xfrm>
            <a:prstGeom prst="rect">
              <a:avLst/>
            </a:prstGeom>
          </p:spPr>
        </p:pic>
        <p:pic>
          <p:nvPicPr>
            <p:cNvPr id="25" name="vaccination / Impfung">
              <a:extLst>
                <a:ext uri="{FF2B5EF4-FFF2-40B4-BE49-F238E27FC236}">
                  <a16:creationId xmlns:a16="http://schemas.microsoft.com/office/drawing/2014/main" id="{2E2C9BDA-ACF0-816B-057F-AB61F697B0C9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0307246" y="2476063"/>
              <a:ext cx="951572" cy="951572"/>
            </a:xfrm>
            <a:prstGeom prst="rect">
              <a:avLst/>
            </a:prstGeom>
          </p:spPr>
        </p:pic>
        <p:pic>
          <p:nvPicPr>
            <p:cNvPr id="26" name="security / Sicherheit">
              <a:extLst>
                <a:ext uri="{FF2B5EF4-FFF2-40B4-BE49-F238E27FC236}">
                  <a16:creationId xmlns:a16="http://schemas.microsoft.com/office/drawing/2014/main" id="{8859FDD4-255E-EDD4-4849-3825F1F5BD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238146" y="2485336"/>
              <a:ext cx="951572" cy="951572"/>
            </a:xfrm>
            <a:prstGeom prst="rect">
              <a:avLst/>
            </a:prstGeom>
          </p:spPr>
        </p:pic>
        <p:pic>
          <p:nvPicPr>
            <p:cNvPr id="27" name="individual patient sample / individuelle Patientenprobe">
              <a:extLst>
                <a:ext uri="{FF2B5EF4-FFF2-40B4-BE49-F238E27FC236}">
                  <a16:creationId xmlns:a16="http://schemas.microsoft.com/office/drawing/2014/main" id="{59595C58-9487-3663-01FC-1D43C9062772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1015396" y="2466269"/>
              <a:ext cx="951572" cy="951572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30C57772-C83E-10D1-9183-0DBBEDB7B624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tretch>
              <a:fillRect/>
            </a:stretch>
          </p:blipFill>
          <p:spPr>
            <a:xfrm>
              <a:off x="11309574" y="2518336"/>
              <a:ext cx="514350" cy="990600"/>
            </a:xfrm>
            <a:prstGeom prst="rect">
              <a:avLst/>
            </a:prstGeom>
          </p:spPr>
        </p:pic>
      </p:grpSp>
      <p:grpSp>
        <p:nvGrpSpPr>
          <p:cNvPr id="8" name="Group 7">
            <a:extLst>
              <a:ext uri="{FF2B5EF4-FFF2-40B4-BE49-F238E27FC236}">
                <a16:creationId xmlns:a16="http://schemas.microsoft.com/office/drawing/2014/main" id="{FF98CFA6-8638-FA49-0DEB-4BA5F03312D6}"/>
              </a:ext>
            </a:extLst>
          </p:cNvPr>
          <p:cNvGrpSpPr/>
          <p:nvPr/>
        </p:nvGrpSpPr>
        <p:grpSpPr>
          <a:xfrm>
            <a:off x="2308881" y="3918007"/>
            <a:ext cx="6822149" cy="2283011"/>
            <a:chOff x="540238" y="3918007"/>
            <a:chExt cx="6822149" cy="2283011"/>
          </a:xfrm>
        </p:grpSpPr>
        <p:sp>
          <p:nvSpPr>
            <p:cNvPr id="29" name="Google Shape;286;p31">
              <a:extLst>
                <a:ext uri="{FF2B5EF4-FFF2-40B4-BE49-F238E27FC236}">
                  <a16:creationId xmlns:a16="http://schemas.microsoft.com/office/drawing/2014/main" id="{F4FE47A1-AB73-0EB2-F8C0-FA49F245A14A}"/>
                </a:ext>
              </a:extLst>
            </p:cNvPr>
            <p:cNvSpPr txBox="1"/>
            <p:nvPr/>
          </p:nvSpPr>
          <p:spPr>
            <a:xfrm>
              <a:off x="1598069" y="3918007"/>
              <a:ext cx="5049161" cy="46291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900" tIns="60967" rIns="121900" bIns="60967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dividualized neoantigen mRNA </a:t>
              </a:r>
              <a:r>
                <a:rPr kumimoji="0" lang="en" sz="1400" b="0" i="0" u="none" strike="noStrike" kern="1200" cap="none" spc="0" normalizeH="0" baseline="3000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1,2,3</a:t>
              </a: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D7F1D78B-DA5C-1158-AD69-C2DF3CDEDF94}"/>
                </a:ext>
              </a:extLst>
            </p:cNvPr>
            <p:cNvPicPr>
              <a:picLocks noChangeAspect="1"/>
            </p:cNvPicPr>
            <p:nvPr/>
          </p:nvPicPr>
          <p:blipFill>
            <a:blip r:embed="rId17"/>
            <a:stretch>
              <a:fillRect/>
            </a:stretch>
          </p:blipFill>
          <p:spPr>
            <a:xfrm>
              <a:off x="595313" y="4199944"/>
              <a:ext cx="6649323" cy="1134131"/>
            </a:xfrm>
            <a:prstGeom prst="rect">
              <a:avLst/>
            </a:prstGeom>
          </p:spPr>
        </p:pic>
        <p:cxnSp>
          <p:nvCxnSpPr>
            <p:cNvPr id="31" name="Gerade Verbindung mit Pfeil 50177">
              <a:extLst>
                <a:ext uri="{FF2B5EF4-FFF2-40B4-BE49-F238E27FC236}">
                  <a16:creationId xmlns:a16="http://schemas.microsoft.com/office/drawing/2014/main" id="{348D0BED-8025-5237-B769-9648BFDCE819}"/>
                </a:ext>
              </a:extLst>
            </p:cNvPr>
            <p:cNvCxnSpPr/>
            <p:nvPr/>
          </p:nvCxnSpPr>
          <p:spPr>
            <a:xfrm flipH="1">
              <a:off x="2543792" y="5044049"/>
              <a:ext cx="364862" cy="604572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2" name="Google Shape;289;p31">
              <a:extLst>
                <a:ext uri="{FF2B5EF4-FFF2-40B4-BE49-F238E27FC236}">
                  <a16:creationId xmlns:a16="http://schemas.microsoft.com/office/drawing/2014/main" id="{0F1F2707-64FB-2831-6AB1-3EA033903601}"/>
                </a:ext>
              </a:extLst>
            </p:cNvPr>
            <p:cNvSpPr/>
            <p:nvPr/>
          </p:nvSpPr>
          <p:spPr>
            <a:xfrm>
              <a:off x="540238" y="5635418"/>
              <a:ext cx="3466125" cy="5584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nate Immune stimulation</a:t>
              </a: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Intrinsic TLR7/8 agonist</a:t>
              </a: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cxnSp>
          <p:nvCxnSpPr>
            <p:cNvPr id="33" name="Gerade Verbindung mit Pfeil 128">
              <a:extLst>
                <a:ext uri="{FF2B5EF4-FFF2-40B4-BE49-F238E27FC236}">
                  <a16:creationId xmlns:a16="http://schemas.microsoft.com/office/drawing/2014/main" id="{4B69EB82-6E93-B7F0-9393-93B9A2874EA1}"/>
                </a:ext>
              </a:extLst>
            </p:cNvPr>
            <p:cNvCxnSpPr/>
            <p:nvPr/>
          </p:nvCxnSpPr>
          <p:spPr>
            <a:xfrm>
              <a:off x="4710885" y="5045117"/>
              <a:ext cx="365760" cy="603504"/>
            </a:xfrm>
            <a:prstGeom prst="straightConnector1">
              <a:avLst/>
            </a:prstGeom>
            <a:ln>
              <a:solidFill>
                <a:schemeClr val="tx1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4" name="Google Shape;285;p31">
              <a:extLst>
                <a:ext uri="{FF2B5EF4-FFF2-40B4-BE49-F238E27FC236}">
                  <a16:creationId xmlns:a16="http://schemas.microsoft.com/office/drawing/2014/main" id="{F171AE83-66E1-4D8C-5720-7C58B2F2F62F}"/>
                </a:ext>
              </a:extLst>
            </p:cNvPr>
            <p:cNvSpPr txBox="1"/>
            <p:nvPr/>
          </p:nvSpPr>
          <p:spPr>
            <a:xfrm>
              <a:off x="4040049" y="5635418"/>
              <a:ext cx="3322338" cy="565600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0" tIns="0" rIns="0" bIns="0" anchor="t" anchorCtr="0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1400" b="1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Antigen expression</a:t>
              </a: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14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p to 20 neoantigens (2 decatopes)</a:t>
              </a:r>
              <a:endParaRPr kumimoji="0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82955096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E79CB01-6485-CCD6-8047-553E50CA5B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oes it work?</a:t>
            </a:r>
          </a:p>
        </p:txBody>
      </p:sp>
      <p:sp>
        <p:nvSpPr>
          <p:cNvPr id="5" name="Rectangle 1">
            <a:extLst>
              <a:ext uri="{FF2B5EF4-FFF2-40B4-BE49-F238E27FC236}">
                <a16:creationId xmlns:a16="http://schemas.microsoft.com/office/drawing/2014/main" id="{3FAC7B69-654E-8B16-382B-82A60E09C26A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0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470650F9-05BB-60E7-3EFC-AC9FCB42F21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077977"/>
              </p:ext>
            </p:extLst>
          </p:nvPr>
        </p:nvGraphicFramePr>
        <p:xfrm>
          <a:off x="4913245" y="1507573"/>
          <a:ext cx="6440555" cy="4495640"/>
        </p:xfrm>
        <a:graphic>
          <a:graphicData uri="http://schemas.openxmlformats.org/drawingml/2006/table">
            <a:tbl>
              <a:tblPr>
                <a:tableStyleId>{08FB837D-C827-4EFA-A057-4D05807E0F7C}</a:tableStyleId>
              </a:tblPr>
              <a:tblGrid>
                <a:gridCol w="3537770">
                  <a:extLst>
                    <a:ext uri="{9D8B030D-6E8A-4147-A177-3AD203B41FA5}">
                      <a16:colId xmlns:a16="http://schemas.microsoft.com/office/drawing/2014/main" val="191954980"/>
                    </a:ext>
                  </a:extLst>
                </a:gridCol>
                <a:gridCol w="892002">
                  <a:extLst>
                    <a:ext uri="{9D8B030D-6E8A-4147-A177-3AD203B41FA5}">
                      <a16:colId xmlns:a16="http://schemas.microsoft.com/office/drawing/2014/main" val="4157404195"/>
                    </a:ext>
                  </a:extLst>
                </a:gridCol>
                <a:gridCol w="1028069">
                  <a:extLst>
                    <a:ext uri="{9D8B030D-6E8A-4147-A177-3AD203B41FA5}">
                      <a16:colId xmlns:a16="http://schemas.microsoft.com/office/drawing/2014/main" val="1769138914"/>
                    </a:ext>
                  </a:extLst>
                </a:gridCol>
                <a:gridCol w="982714">
                  <a:extLst>
                    <a:ext uri="{9D8B030D-6E8A-4147-A177-3AD203B41FA5}">
                      <a16:colId xmlns:a16="http://schemas.microsoft.com/office/drawing/2014/main" val="2577121430"/>
                    </a:ext>
                  </a:extLst>
                </a:gridCol>
              </a:tblGrid>
              <a:tr h="403410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000" b="1" dirty="0">
                          <a:solidFill>
                            <a:schemeClr val="tx1"/>
                          </a:solidFill>
                          <a:effectLst/>
                        </a:rPr>
                        <a:t>Site Name</a:t>
                      </a:r>
                      <a:endParaRPr lang="de-AT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19" marR="71619" marT="35809" marB="3580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000" b="1" dirty="0">
                          <a:solidFill>
                            <a:schemeClr val="tx1"/>
                          </a:solidFill>
                          <a:effectLst/>
                        </a:rPr>
                        <a:t>City</a:t>
                      </a:r>
                      <a:endParaRPr lang="de-AT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19" marR="71619" marT="35809" marB="3580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000" b="1" dirty="0">
                          <a:solidFill>
                            <a:schemeClr val="tx1"/>
                          </a:solidFill>
                          <a:effectLst/>
                        </a:rPr>
                        <a:t>Date </a:t>
                      </a:r>
                      <a:r>
                        <a:rPr lang="de-AT" sz="1000" b="1" dirty="0" err="1">
                          <a:solidFill>
                            <a:schemeClr val="tx1"/>
                          </a:solidFill>
                          <a:effectLst/>
                        </a:rPr>
                        <a:t>of</a:t>
                      </a:r>
                      <a:r>
                        <a:rPr lang="de-AT" sz="1000" b="1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de-AT" sz="1000" b="1" dirty="0" err="1">
                          <a:solidFill>
                            <a:schemeClr val="tx1"/>
                          </a:solidFill>
                          <a:effectLst/>
                        </a:rPr>
                        <a:t>Activation</a:t>
                      </a:r>
                      <a:endParaRPr lang="de-AT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19" marR="71619" marT="35809" marB="3580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de-AT" sz="1000" b="1" dirty="0">
                          <a:solidFill>
                            <a:schemeClr val="tx1"/>
                          </a:solidFill>
                          <a:effectLst/>
                        </a:rPr>
                        <a:t># </a:t>
                      </a:r>
                      <a:r>
                        <a:rPr lang="de-AT" sz="1000" b="1" dirty="0" err="1">
                          <a:solidFill>
                            <a:schemeClr val="tx1"/>
                          </a:solidFill>
                          <a:effectLst/>
                        </a:rPr>
                        <a:t>of</a:t>
                      </a:r>
                      <a:r>
                        <a:rPr lang="de-AT" sz="1000" b="1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de-AT" sz="1000" b="1" dirty="0" err="1">
                          <a:solidFill>
                            <a:schemeClr val="tx1"/>
                          </a:solidFill>
                          <a:effectLst/>
                        </a:rPr>
                        <a:t>Pts</a:t>
                      </a:r>
                      <a:r>
                        <a:rPr lang="de-AT" sz="1000" b="1" dirty="0">
                          <a:solidFill>
                            <a:schemeClr val="tx1"/>
                          </a:solidFill>
                          <a:effectLst/>
                        </a:rPr>
                        <a:t> </a:t>
                      </a:r>
                      <a:r>
                        <a:rPr lang="de-AT" sz="1000" b="1" dirty="0" err="1">
                          <a:solidFill>
                            <a:schemeClr val="tx1"/>
                          </a:solidFill>
                          <a:effectLst/>
                        </a:rPr>
                        <a:t>Screened</a:t>
                      </a:r>
                      <a:endParaRPr lang="de-AT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71619" marR="71619" marT="35809" marB="35809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36659280"/>
                  </a:ext>
                </a:extLst>
              </a:tr>
              <a:tr h="168659"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fr-FR" sz="1000">
                          <a:solidFill>
                            <a:schemeClr val="tx1"/>
                          </a:solidFill>
                          <a:effectLst/>
                        </a:rPr>
                        <a:t>Velindre NHS Trust, Velindre Cancer Centre</a:t>
                      </a:r>
                      <a:endParaRPr lang="fr-FR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Cardiff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02MAY2023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39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01949577"/>
                  </a:ext>
                </a:extLst>
              </a:tr>
              <a:tr h="331987"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Queen Elizabeth Hospital Birmingham-University Hospitals Birmingham NHS Foundation Trust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Birmingham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31MAR2023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30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7032613"/>
                  </a:ext>
                </a:extLst>
              </a:tr>
              <a:tr h="288362"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The Clatterbridge Cancer Centre NHS Foundation Trust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Bebington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 dirty="0">
                          <a:solidFill>
                            <a:schemeClr val="tx1"/>
                          </a:solidFill>
                          <a:effectLst/>
                        </a:rPr>
                        <a:t>30MAY2023</a:t>
                      </a:r>
                      <a:endParaRPr lang="en-GB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29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62633102"/>
                  </a:ext>
                </a:extLst>
              </a:tr>
              <a:tr h="235593"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The Christie NHS Foundation Trust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Manchester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29JUN2023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6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913063162"/>
                  </a:ext>
                </a:extLst>
              </a:tr>
              <a:tr h="288362"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University College London Hospitals NHS Foundation Trust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London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19JUL2023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8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29401053"/>
                  </a:ext>
                </a:extLst>
              </a:tr>
              <a:tr h="235593"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The Royal Marsden NHS Foundation Trust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Sutton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29JUN2023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0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98931795"/>
                  </a:ext>
                </a:extLst>
              </a:tr>
              <a:tr h="235593"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Royal Marsden Hospital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London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30JUN2023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 dirty="0">
                          <a:solidFill>
                            <a:schemeClr val="tx1"/>
                          </a:solidFill>
                          <a:effectLst/>
                        </a:rPr>
                        <a:t>2</a:t>
                      </a:r>
                      <a:endParaRPr lang="en-GB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31715924"/>
                  </a:ext>
                </a:extLst>
              </a:tr>
              <a:tr h="324073"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 dirty="0">
                          <a:solidFill>
                            <a:schemeClr val="tx1"/>
                          </a:solidFill>
                          <a:effectLst/>
                        </a:rPr>
                        <a:t>Barts Health NHS Trust/Queen Mary University of London</a:t>
                      </a:r>
                      <a:endParaRPr lang="en-GB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London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24AUG2023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14877793"/>
                  </a:ext>
                </a:extLst>
              </a:tr>
              <a:tr h="324073"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Guy’s and St Thomas’ NHS Foundation Trust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London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11SEP2023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8883392"/>
                  </a:ext>
                </a:extLst>
              </a:tr>
              <a:tr h="331987"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Torbay Hospital - South Devon Healthcare NHS Foundation Trust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Torquay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12OCT2023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5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51915219"/>
                  </a:ext>
                </a:extLst>
              </a:tr>
              <a:tr h="331987"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Royal Preston Hospital  - Lancashire Teaching Hospitals NHS Foundation Trust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 dirty="0">
                          <a:solidFill>
                            <a:schemeClr val="tx1"/>
                          </a:solidFill>
                          <a:effectLst/>
                        </a:rPr>
                        <a:t>Preston</a:t>
                      </a:r>
                      <a:endParaRPr lang="en-GB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30NOV2023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fontAlgn="b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0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866629814"/>
                  </a:ext>
                </a:extLst>
              </a:tr>
              <a:tr h="33198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Gartnavel Royal Hospital – NHS Greater Glasgow and Clyde (selected in May 2023)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Glasgow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30NOV2023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0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98406700"/>
                  </a:ext>
                </a:extLst>
              </a:tr>
              <a:tr h="33198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The Royal Free Hospital - Royal Free London NHS Foundation Trust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London 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31JAN2024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0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37428457"/>
                  </a:ext>
                </a:extLst>
              </a:tr>
              <a:tr h="331987"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 dirty="0">
                          <a:solidFill>
                            <a:schemeClr val="tx1"/>
                          </a:solidFill>
                          <a:effectLst/>
                        </a:rPr>
                        <a:t>The Newcastle upon Tyne Hospitals NHS Foundation Trust - Freeman Hospital</a:t>
                      </a:r>
                      <a:endParaRPr lang="en-GB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 dirty="0">
                          <a:solidFill>
                            <a:schemeClr val="tx1"/>
                          </a:solidFill>
                          <a:effectLst/>
                        </a:rPr>
                        <a:t>Newcastle upon Tyne</a:t>
                      </a:r>
                      <a:endParaRPr lang="en-GB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>
                          <a:solidFill>
                            <a:schemeClr val="tx1"/>
                          </a:solidFill>
                          <a:effectLst/>
                        </a:rPr>
                        <a:t>29JAN2024</a:t>
                      </a:r>
                      <a:endParaRPr lang="en-GB" sz="100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000" dirty="0">
                          <a:solidFill>
                            <a:schemeClr val="tx1"/>
                          </a:solidFill>
                          <a:effectLst/>
                        </a:rPr>
                        <a:t>0</a:t>
                      </a:r>
                      <a:endParaRPr lang="en-GB" sz="10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4974" marR="4974" marT="4974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35808915"/>
                  </a:ext>
                </a:extLst>
              </a:tr>
            </a:tbl>
          </a:graphicData>
        </a:graphic>
      </p:graphicFrame>
      <p:sp>
        <p:nvSpPr>
          <p:cNvPr id="4" name="Rectangle 1">
            <a:extLst>
              <a:ext uri="{FF2B5EF4-FFF2-40B4-BE49-F238E27FC236}">
                <a16:creationId xmlns:a16="http://schemas.microsoft.com/office/drawing/2014/main" id="{8D6F9D98-19B0-6E64-231B-6F0D0952FC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3176588" y="1825625"/>
            <a:ext cx="12192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br>
              <a:rPr kumimoji="0" lang="en-US" altLang="en-US" sz="1800" b="0" i="0" u="none" strike="noStrike" cap="none" normalizeH="0" baseline="0">
                <a:ln>
                  <a:noFill/>
                </a:ln>
                <a:solidFill>
                  <a:schemeClr val="tx1"/>
                </a:solidFill>
                <a:effectLst/>
                <a:latin typeface="Arial" panose="020B0604020202020204" pitchFamily="34" charset="0"/>
              </a:rPr>
            </a:br>
            <a:endParaRPr kumimoji="0" lang="en-US" altLang="en-US" sz="18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5539864-8241-A74A-3177-DF72748B426C}"/>
              </a:ext>
            </a:extLst>
          </p:cNvPr>
          <p:cNvSpPr txBox="1"/>
          <p:nvPr/>
        </p:nvSpPr>
        <p:spPr>
          <a:xfrm>
            <a:off x="331304" y="1974574"/>
            <a:ext cx="4068418" cy="3323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000" dirty="0"/>
              <a:t>129 recruit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3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000" dirty="0"/>
              <a:t>15 ctDNA +</a:t>
            </a:r>
            <a:r>
              <a:rPr lang="en-US" sz="3000" dirty="0" err="1"/>
              <a:t>ve</a:t>
            </a:r>
            <a:endParaRPr lang="en-US" sz="3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3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000" dirty="0"/>
              <a:t>6 </a:t>
            </a:r>
            <a:r>
              <a:rPr lang="en-US" sz="3000" dirty="0" err="1"/>
              <a:t>randomised</a:t>
            </a:r>
            <a:endParaRPr lang="en-US" sz="30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US" sz="30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3000" dirty="0"/>
              <a:t>&gt;80% since Oct 23</a:t>
            </a:r>
          </a:p>
        </p:txBody>
      </p:sp>
    </p:spTree>
    <p:extLst>
      <p:ext uri="{BB962C8B-B14F-4D97-AF65-F5344CB8AC3E}">
        <p14:creationId xmlns:p14="http://schemas.microsoft.com/office/powerpoint/2010/main" val="2364737794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8" name="Rectangle 7">
            <a:extLst>
              <a:ext uri="{FF2B5EF4-FFF2-40B4-BE49-F238E27FC236}">
                <a16:creationId xmlns:a16="http://schemas.microsoft.com/office/drawing/2014/main" id="{C9A36457-A5F4-4103-A443-02581C0918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C5FB7E8-B636-40FA-BE8D-48145C0F5C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4"/>
            <a:ext cx="12192000" cy="2295238"/>
          </a:xfrm>
          <a:custGeom>
            <a:avLst/>
            <a:gdLst>
              <a:gd name="connsiteX0" fmla="*/ 12160143 w 12192000"/>
              <a:gd name="connsiteY0" fmla="*/ 831692 h 2079137"/>
              <a:gd name="connsiteX1" fmla="*/ 12159112 w 12192000"/>
              <a:gd name="connsiteY1" fmla="*/ 833361 h 2079137"/>
              <a:gd name="connsiteX2" fmla="*/ 12158912 w 12192000"/>
              <a:gd name="connsiteY2" fmla="*/ 832430 h 2079137"/>
              <a:gd name="connsiteX3" fmla="*/ 0 w 12192000"/>
              <a:gd name="connsiteY3" fmla="*/ 0 h 2079137"/>
              <a:gd name="connsiteX4" fmla="*/ 12192000 w 12192000"/>
              <a:gd name="connsiteY4" fmla="*/ 0 h 2079137"/>
              <a:gd name="connsiteX5" fmla="*/ 12192000 w 12192000"/>
              <a:gd name="connsiteY5" fmla="*/ 558063 h 2079137"/>
              <a:gd name="connsiteX6" fmla="*/ 12189259 w 12192000"/>
              <a:gd name="connsiteY6" fmla="*/ 810508 h 2079137"/>
              <a:gd name="connsiteX7" fmla="*/ 12170847 w 12192000"/>
              <a:gd name="connsiteY7" fmla="*/ 825280 h 2079137"/>
              <a:gd name="connsiteX8" fmla="*/ 12160143 w 12192000"/>
              <a:gd name="connsiteY8" fmla="*/ 831692 h 2079137"/>
              <a:gd name="connsiteX9" fmla="*/ 12163806 w 12192000"/>
              <a:gd name="connsiteY9" fmla="*/ 825759 h 2079137"/>
              <a:gd name="connsiteX10" fmla="*/ 12056557 w 12192000"/>
              <a:gd name="connsiteY10" fmla="*/ 810176 h 2079137"/>
              <a:gd name="connsiteX11" fmla="*/ 11900316 w 12192000"/>
              <a:gd name="connsiteY11" fmla="*/ 789618 h 2079137"/>
              <a:gd name="connsiteX12" fmla="*/ 11791206 w 12192000"/>
              <a:gd name="connsiteY12" fmla="*/ 824176 h 2079137"/>
              <a:gd name="connsiteX13" fmla="*/ 11659257 w 12192000"/>
              <a:gd name="connsiteY13" fmla="*/ 800841 h 2079137"/>
              <a:gd name="connsiteX14" fmla="*/ 11569789 w 12192000"/>
              <a:gd name="connsiteY14" fmla="*/ 797135 h 2079137"/>
              <a:gd name="connsiteX15" fmla="*/ 11367885 w 12192000"/>
              <a:gd name="connsiteY15" fmla="*/ 791985 h 2079137"/>
              <a:gd name="connsiteX16" fmla="*/ 11174663 w 12192000"/>
              <a:gd name="connsiteY16" fmla="*/ 788721 h 2079137"/>
              <a:gd name="connsiteX17" fmla="*/ 11068220 w 12192000"/>
              <a:gd name="connsiteY17" fmla="*/ 786994 h 2079137"/>
              <a:gd name="connsiteX18" fmla="*/ 10893266 w 12192000"/>
              <a:gd name="connsiteY18" fmla="*/ 794013 h 2079137"/>
              <a:gd name="connsiteX19" fmla="*/ 10844025 w 12192000"/>
              <a:gd name="connsiteY19" fmla="*/ 789857 h 2079137"/>
              <a:gd name="connsiteX20" fmla="*/ 10814353 w 12192000"/>
              <a:gd name="connsiteY20" fmla="*/ 789010 h 2079137"/>
              <a:gd name="connsiteX21" fmla="*/ 10748393 w 12192000"/>
              <a:gd name="connsiteY21" fmla="*/ 806738 h 2079137"/>
              <a:gd name="connsiteX22" fmla="*/ 10468256 w 12192000"/>
              <a:gd name="connsiteY22" fmla="*/ 778733 h 2079137"/>
              <a:gd name="connsiteX23" fmla="*/ 10256131 w 12192000"/>
              <a:gd name="connsiteY23" fmla="*/ 788332 h 2079137"/>
              <a:gd name="connsiteX24" fmla="*/ 10177442 w 12192000"/>
              <a:gd name="connsiteY24" fmla="*/ 777371 h 2079137"/>
              <a:gd name="connsiteX25" fmla="*/ 10006086 w 12192000"/>
              <a:gd name="connsiteY25" fmla="*/ 792651 h 2079137"/>
              <a:gd name="connsiteX26" fmla="*/ 9952382 w 12192000"/>
              <a:gd name="connsiteY26" fmla="*/ 815411 h 2079137"/>
              <a:gd name="connsiteX27" fmla="*/ 9926457 w 12192000"/>
              <a:gd name="connsiteY27" fmla="*/ 827295 h 2079137"/>
              <a:gd name="connsiteX28" fmla="*/ 9843405 w 12192000"/>
              <a:gd name="connsiteY28" fmla="*/ 867046 h 2079137"/>
              <a:gd name="connsiteX29" fmla="*/ 9830866 w 12192000"/>
              <a:gd name="connsiteY29" fmla="*/ 875047 h 2079137"/>
              <a:gd name="connsiteX30" fmla="*/ 9801807 w 12192000"/>
              <a:gd name="connsiteY30" fmla="*/ 872272 h 2079137"/>
              <a:gd name="connsiteX31" fmla="*/ 9785653 w 12192000"/>
              <a:gd name="connsiteY31" fmla="*/ 861743 h 2079137"/>
              <a:gd name="connsiteX32" fmla="*/ 9781177 w 12192000"/>
              <a:gd name="connsiteY32" fmla="*/ 864820 h 2079137"/>
              <a:gd name="connsiteX33" fmla="*/ 9768640 w 12192000"/>
              <a:gd name="connsiteY33" fmla="*/ 869379 h 2079137"/>
              <a:gd name="connsiteX34" fmla="*/ 9712211 w 12192000"/>
              <a:gd name="connsiteY34" fmla="*/ 900283 h 2079137"/>
              <a:gd name="connsiteX35" fmla="*/ 9689465 w 12192000"/>
              <a:gd name="connsiteY35" fmla="*/ 899268 h 2079137"/>
              <a:gd name="connsiteX36" fmla="*/ 9600339 w 12192000"/>
              <a:gd name="connsiteY36" fmla="*/ 922112 h 2079137"/>
              <a:gd name="connsiteX37" fmla="*/ 9582850 w 12192000"/>
              <a:gd name="connsiteY37" fmla="*/ 925510 h 2079137"/>
              <a:gd name="connsiteX38" fmla="*/ 9549638 w 12192000"/>
              <a:gd name="connsiteY38" fmla="*/ 940845 h 2079137"/>
              <a:gd name="connsiteX39" fmla="*/ 9539471 w 12192000"/>
              <a:gd name="connsiteY39" fmla="*/ 941799 h 2079137"/>
              <a:gd name="connsiteX40" fmla="*/ 9505592 w 12192000"/>
              <a:gd name="connsiteY40" fmla="*/ 955533 h 2079137"/>
              <a:gd name="connsiteX41" fmla="*/ 9432569 w 12192000"/>
              <a:gd name="connsiteY41" fmla="*/ 985377 h 2079137"/>
              <a:gd name="connsiteX42" fmla="*/ 9414216 w 12192000"/>
              <a:gd name="connsiteY42" fmla="*/ 992655 h 2079137"/>
              <a:gd name="connsiteX43" fmla="*/ 9397106 w 12192000"/>
              <a:gd name="connsiteY43" fmla="*/ 992980 h 2079137"/>
              <a:gd name="connsiteX44" fmla="*/ 9305108 w 12192000"/>
              <a:gd name="connsiteY44" fmla="*/ 1007767 h 2079137"/>
              <a:gd name="connsiteX45" fmla="*/ 9282434 w 12192000"/>
              <a:gd name="connsiteY45" fmla="*/ 1007523 h 2079137"/>
              <a:gd name="connsiteX46" fmla="*/ 9271941 w 12192000"/>
              <a:gd name="connsiteY46" fmla="*/ 1002839 h 2079137"/>
              <a:gd name="connsiteX47" fmla="*/ 9238227 w 12192000"/>
              <a:gd name="connsiteY47" fmla="*/ 1017668 h 2079137"/>
              <a:gd name="connsiteX48" fmla="*/ 9184265 w 12192000"/>
              <a:gd name="connsiteY48" fmla="*/ 1031275 h 2079137"/>
              <a:gd name="connsiteX49" fmla="*/ 9159000 w 12192000"/>
              <a:gd name="connsiteY49" fmla="*/ 1039569 h 2079137"/>
              <a:gd name="connsiteX50" fmla="*/ 9137031 w 12192000"/>
              <a:gd name="connsiteY50" fmla="*/ 1038699 h 2079137"/>
              <a:gd name="connsiteX51" fmla="*/ 9015702 w 12192000"/>
              <a:gd name="connsiteY51" fmla="*/ 1051400 h 2079137"/>
              <a:gd name="connsiteX52" fmla="*/ 8971403 w 12192000"/>
              <a:gd name="connsiteY52" fmla="*/ 1040542 h 2079137"/>
              <a:gd name="connsiteX53" fmla="*/ 8961826 w 12192000"/>
              <a:gd name="connsiteY53" fmla="*/ 1045364 h 2079137"/>
              <a:gd name="connsiteX54" fmla="*/ 8888623 w 12192000"/>
              <a:gd name="connsiteY54" fmla="*/ 1053908 h 2079137"/>
              <a:gd name="connsiteX55" fmla="*/ 8841066 w 12192000"/>
              <a:gd name="connsiteY55" fmla="*/ 1060421 h 2079137"/>
              <a:gd name="connsiteX56" fmla="*/ 8752342 w 12192000"/>
              <a:gd name="connsiteY56" fmla="*/ 1080646 h 2079137"/>
              <a:gd name="connsiteX57" fmla="*/ 8699139 w 12192000"/>
              <a:gd name="connsiteY57" fmla="*/ 1087885 h 2079137"/>
              <a:gd name="connsiteX58" fmla="*/ 8667273 w 12192000"/>
              <a:gd name="connsiteY58" fmla="*/ 1092062 h 2079137"/>
              <a:gd name="connsiteX59" fmla="*/ 8586064 w 12192000"/>
              <a:gd name="connsiteY59" fmla="*/ 1114603 h 2079137"/>
              <a:gd name="connsiteX60" fmla="*/ 8460312 w 12192000"/>
              <a:gd name="connsiteY60" fmla="*/ 1179878 h 2079137"/>
              <a:gd name="connsiteX61" fmla="*/ 8419023 w 12192000"/>
              <a:gd name="connsiteY61" fmla="*/ 1191748 h 2079137"/>
              <a:gd name="connsiteX62" fmla="*/ 8410939 w 12192000"/>
              <a:gd name="connsiteY62" fmla="*/ 1189696 h 2079137"/>
              <a:gd name="connsiteX63" fmla="*/ 8362040 w 12192000"/>
              <a:gd name="connsiteY63" fmla="*/ 1220820 h 2079137"/>
              <a:gd name="connsiteX64" fmla="*/ 8273677 w 12192000"/>
              <a:gd name="connsiteY64" fmla="*/ 1236495 h 2079137"/>
              <a:gd name="connsiteX65" fmla="*/ 8204283 w 12192000"/>
              <a:gd name="connsiteY65" fmla="*/ 1243537 h 2079137"/>
              <a:gd name="connsiteX66" fmla="*/ 8166550 w 12192000"/>
              <a:gd name="connsiteY66" fmla="*/ 1249551 h 2079137"/>
              <a:gd name="connsiteX67" fmla="*/ 8137785 w 12192000"/>
              <a:gd name="connsiteY67" fmla="*/ 1251636 h 2079137"/>
              <a:gd name="connsiteX68" fmla="*/ 8071596 w 12192000"/>
              <a:gd name="connsiteY68" fmla="*/ 1269274 h 2079137"/>
              <a:gd name="connsiteX69" fmla="*/ 7964816 w 12192000"/>
              <a:gd name="connsiteY69" fmla="*/ 1303668 h 2079137"/>
              <a:gd name="connsiteX70" fmla="*/ 7941495 w 12192000"/>
              <a:gd name="connsiteY70" fmla="*/ 1309821 h 2079137"/>
              <a:gd name="connsiteX71" fmla="*/ 7919123 w 12192000"/>
              <a:gd name="connsiteY71" fmla="*/ 1310466 h 2079137"/>
              <a:gd name="connsiteX72" fmla="*/ 7911902 w 12192000"/>
              <a:gd name="connsiteY72" fmla="*/ 1306569 h 2079137"/>
              <a:gd name="connsiteX73" fmla="*/ 7898703 w 12192000"/>
              <a:gd name="connsiteY73" fmla="*/ 1309208 h 2079137"/>
              <a:gd name="connsiteX74" fmla="*/ 7894703 w 12192000"/>
              <a:gd name="connsiteY74" fmla="*/ 1308939 h 2079137"/>
              <a:gd name="connsiteX75" fmla="*/ 7872267 w 12192000"/>
              <a:gd name="connsiteY75" fmla="*/ 1308370 h 2079137"/>
              <a:gd name="connsiteX76" fmla="*/ 7836454 w 12192000"/>
              <a:gd name="connsiteY76" fmla="*/ 1331265 h 2079137"/>
              <a:gd name="connsiteX77" fmla="*/ 7782451 w 12192000"/>
              <a:gd name="connsiteY77" fmla="*/ 1339601 h 2079137"/>
              <a:gd name="connsiteX78" fmla="*/ 7542969 w 12192000"/>
              <a:gd name="connsiteY78" fmla="*/ 1372495 h 2079137"/>
              <a:gd name="connsiteX79" fmla="*/ 7476832 w 12192000"/>
              <a:gd name="connsiteY79" fmla="*/ 1431655 h 2079137"/>
              <a:gd name="connsiteX80" fmla="*/ 7370237 w 12192000"/>
              <a:gd name="connsiteY80" fmla="*/ 1474339 h 2079137"/>
              <a:gd name="connsiteX81" fmla="*/ 7222223 w 12192000"/>
              <a:gd name="connsiteY81" fmla="*/ 1510199 h 2079137"/>
              <a:gd name="connsiteX82" fmla="*/ 7215703 w 12192000"/>
              <a:gd name="connsiteY82" fmla="*/ 1520424 h 2079137"/>
              <a:gd name="connsiteX83" fmla="*/ 7204548 w 12192000"/>
              <a:gd name="connsiteY83" fmla="*/ 1528145 h 2079137"/>
              <a:gd name="connsiteX84" fmla="*/ 7202038 w 12192000"/>
              <a:gd name="connsiteY84" fmla="*/ 1527954 h 2079137"/>
              <a:gd name="connsiteX85" fmla="*/ 7173860 w 12192000"/>
              <a:gd name="connsiteY85" fmla="*/ 1541605 h 2079137"/>
              <a:gd name="connsiteX86" fmla="*/ 7155079 w 12192000"/>
              <a:gd name="connsiteY86" fmla="*/ 1552495 h 2079137"/>
              <a:gd name="connsiteX87" fmla="*/ 7149757 w 12192000"/>
              <a:gd name="connsiteY87" fmla="*/ 1552732 h 2079137"/>
              <a:gd name="connsiteX88" fmla="*/ 7104804 w 12192000"/>
              <a:gd name="connsiteY88" fmla="*/ 1565792 h 2079137"/>
              <a:gd name="connsiteX89" fmla="*/ 7082824 w 12192000"/>
              <a:gd name="connsiteY89" fmla="*/ 1567947 h 2079137"/>
              <a:gd name="connsiteX90" fmla="*/ 7021520 w 12192000"/>
              <a:gd name="connsiteY90" fmla="*/ 1562334 h 2079137"/>
              <a:gd name="connsiteX91" fmla="*/ 6988956 w 12192000"/>
              <a:gd name="connsiteY91" fmla="*/ 1576442 h 2079137"/>
              <a:gd name="connsiteX92" fmla="*/ 6981922 w 12192000"/>
              <a:gd name="connsiteY92" fmla="*/ 1578821 h 2079137"/>
              <a:gd name="connsiteX93" fmla="*/ 6981583 w 12192000"/>
              <a:gd name="connsiteY93" fmla="*/ 1578678 h 2079137"/>
              <a:gd name="connsiteX94" fmla="*/ 6973762 w 12192000"/>
              <a:gd name="connsiteY94" fmla="*/ 1580811 h 2079137"/>
              <a:gd name="connsiteX95" fmla="*/ 6969093 w 12192000"/>
              <a:gd name="connsiteY95" fmla="*/ 1583157 h 2079137"/>
              <a:gd name="connsiteX96" fmla="*/ 6890037 w 12192000"/>
              <a:gd name="connsiteY96" fmla="*/ 1575825 h 2079137"/>
              <a:gd name="connsiteX97" fmla="*/ 6785054 w 12192000"/>
              <a:gd name="connsiteY97" fmla="*/ 1582200 h 2079137"/>
              <a:gd name="connsiteX98" fmla="*/ 6681692 w 12192000"/>
              <a:gd name="connsiteY98" fmla="*/ 1591296 h 2079137"/>
              <a:gd name="connsiteX99" fmla="*/ 6644556 w 12192000"/>
              <a:gd name="connsiteY99" fmla="*/ 1595940 h 2079137"/>
              <a:gd name="connsiteX100" fmla="*/ 6577106 w 12192000"/>
              <a:gd name="connsiteY100" fmla="*/ 1598261 h 2079137"/>
              <a:gd name="connsiteX101" fmla="*/ 6544183 w 12192000"/>
              <a:gd name="connsiteY101" fmla="*/ 1596149 h 2079137"/>
              <a:gd name="connsiteX102" fmla="*/ 6540921 w 12192000"/>
              <a:gd name="connsiteY102" fmla="*/ 1593857 h 2079137"/>
              <a:gd name="connsiteX103" fmla="*/ 6535046 w 12192000"/>
              <a:gd name="connsiteY103" fmla="*/ 1593283 h 2079137"/>
              <a:gd name="connsiteX104" fmla="*/ 6519853 w 12192000"/>
              <a:gd name="connsiteY104" fmla="*/ 1595771 h 2079137"/>
              <a:gd name="connsiteX105" fmla="*/ 6514280 w 12192000"/>
              <a:gd name="connsiteY105" fmla="*/ 1597376 h 2079137"/>
              <a:gd name="connsiteX106" fmla="*/ 6505824 w 12192000"/>
              <a:gd name="connsiteY106" fmla="*/ 1598298 h 2079137"/>
              <a:gd name="connsiteX107" fmla="*/ 6505573 w 12192000"/>
              <a:gd name="connsiteY107" fmla="*/ 1598109 h 2079137"/>
              <a:gd name="connsiteX108" fmla="*/ 6497741 w 12192000"/>
              <a:gd name="connsiteY108" fmla="*/ 1599392 h 2079137"/>
              <a:gd name="connsiteX109" fmla="*/ 6459992 w 12192000"/>
              <a:gd name="connsiteY109" fmla="*/ 1608358 h 2079137"/>
              <a:gd name="connsiteX110" fmla="*/ 6404572 w 12192000"/>
              <a:gd name="connsiteY110" fmla="*/ 1593771 h 2079137"/>
              <a:gd name="connsiteX111" fmla="*/ 6382671 w 12192000"/>
              <a:gd name="connsiteY111" fmla="*/ 1592612 h 2079137"/>
              <a:gd name="connsiteX112" fmla="*/ 6369843 w 12192000"/>
              <a:gd name="connsiteY112" fmla="*/ 1590015 h 2079137"/>
              <a:gd name="connsiteX113" fmla="*/ 6269740 w 12192000"/>
              <a:gd name="connsiteY113" fmla="*/ 1614633 h 2079137"/>
              <a:gd name="connsiteX114" fmla="*/ 6255405 w 12192000"/>
              <a:gd name="connsiteY114" fmla="*/ 1620529 h 2079137"/>
              <a:gd name="connsiteX115" fmla="*/ 6244248 w 12192000"/>
              <a:gd name="connsiteY115" fmla="*/ 1629561 h 2079137"/>
              <a:gd name="connsiteX116" fmla="*/ 6086396 w 12192000"/>
              <a:gd name="connsiteY116" fmla="*/ 1642666 h 2079137"/>
              <a:gd name="connsiteX117" fmla="*/ 5867429 w 12192000"/>
              <a:gd name="connsiteY117" fmla="*/ 1695554 h 2079137"/>
              <a:gd name="connsiteX118" fmla="*/ 5772864 w 12192000"/>
              <a:gd name="connsiteY118" fmla="*/ 1689002 h 2079137"/>
              <a:gd name="connsiteX119" fmla="*/ 5629833 w 12192000"/>
              <a:gd name="connsiteY119" fmla="*/ 1713273 h 2079137"/>
              <a:gd name="connsiteX120" fmla="*/ 5504771 w 12192000"/>
              <a:gd name="connsiteY120" fmla="*/ 1725744 h 2079137"/>
              <a:gd name="connsiteX121" fmla="*/ 5490967 w 12192000"/>
              <a:gd name="connsiteY121" fmla="*/ 1726367 h 2079137"/>
              <a:gd name="connsiteX122" fmla="*/ 5486015 w 12192000"/>
              <a:gd name="connsiteY122" fmla="*/ 1721481 h 2079137"/>
              <a:gd name="connsiteX123" fmla="*/ 5439364 w 12192000"/>
              <a:gd name="connsiteY123" fmla="*/ 1721349 h 2079137"/>
              <a:gd name="connsiteX124" fmla="*/ 5350025 w 12192000"/>
              <a:gd name="connsiteY124" fmla="*/ 1729885 h 2079137"/>
              <a:gd name="connsiteX125" fmla="*/ 5336104 w 12192000"/>
              <a:gd name="connsiteY125" fmla="*/ 1734377 h 2079137"/>
              <a:gd name="connsiteX126" fmla="*/ 5245234 w 12192000"/>
              <a:gd name="connsiteY126" fmla="*/ 1738520 h 2079137"/>
              <a:gd name="connsiteX127" fmla="*/ 5182955 w 12192000"/>
              <a:gd name="connsiteY127" fmla="*/ 1744622 h 2079137"/>
              <a:gd name="connsiteX128" fmla="*/ 5169506 w 12192000"/>
              <a:gd name="connsiteY128" fmla="*/ 1748993 h 2079137"/>
              <a:gd name="connsiteX129" fmla="*/ 5154299 w 12192000"/>
              <a:gd name="connsiteY129" fmla="*/ 1744080 h 2079137"/>
              <a:gd name="connsiteX130" fmla="*/ 5149917 w 12192000"/>
              <a:gd name="connsiteY130" fmla="*/ 1739727 h 2079137"/>
              <a:gd name="connsiteX131" fmla="*/ 5100319 w 12192000"/>
              <a:gd name="connsiteY131" fmla="*/ 1745797 h 2079137"/>
              <a:gd name="connsiteX132" fmla="*/ 5094361 w 12192000"/>
              <a:gd name="connsiteY132" fmla="*/ 1745767 h 2079137"/>
              <a:gd name="connsiteX133" fmla="*/ 5053410 w 12192000"/>
              <a:gd name="connsiteY133" fmla="*/ 1742790 h 2079137"/>
              <a:gd name="connsiteX134" fmla="*/ 4992711 w 12192000"/>
              <a:gd name="connsiteY134" fmla="*/ 1734075 h 2079137"/>
              <a:gd name="connsiteX135" fmla="*/ 4930098 w 12192000"/>
              <a:gd name="connsiteY135" fmla="*/ 1717312 h 2079137"/>
              <a:gd name="connsiteX136" fmla="*/ 4893834 w 12192000"/>
              <a:gd name="connsiteY136" fmla="*/ 1710028 h 2079137"/>
              <a:gd name="connsiteX137" fmla="*/ 4868730 w 12192000"/>
              <a:gd name="connsiteY137" fmla="*/ 1702384 h 2079137"/>
              <a:gd name="connsiteX138" fmla="*/ 4797925 w 12192000"/>
              <a:gd name="connsiteY138" fmla="*/ 1695535 h 2079137"/>
              <a:gd name="connsiteX139" fmla="*/ 4677670 w 12192000"/>
              <a:gd name="connsiteY139" fmla="*/ 1689453 h 2079137"/>
              <a:gd name="connsiteX140" fmla="*/ 4634248 w 12192000"/>
              <a:gd name="connsiteY140" fmla="*/ 1680227 h 2079137"/>
              <a:gd name="connsiteX141" fmla="*/ 4632434 w 12192000"/>
              <a:gd name="connsiteY141" fmla="*/ 1674607 h 2079137"/>
              <a:gd name="connsiteX142" fmla="*/ 4619204 w 12192000"/>
              <a:gd name="connsiteY142" fmla="*/ 1672507 h 2079137"/>
              <a:gd name="connsiteX143" fmla="*/ 4616283 w 12192000"/>
              <a:gd name="connsiteY143" fmla="*/ 1670977 h 2079137"/>
              <a:gd name="connsiteX144" fmla="*/ 4598926 w 12192000"/>
              <a:gd name="connsiteY144" fmla="*/ 1663178 h 2079137"/>
              <a:gd name="connsiteX145" fmla="*/ 4547069 w 12192000"/>
              <a:gd name="connsiteY145" fmla="*/ 1670642 h 2079137"/>
              <a:gd name="connsiteX146" fmla="*/ 4523516 w 12192000"/>
              <a:gd name="connsiteY146" fmla="*/ 1669785 h 2079137"/>
              <a:gd name="connsiteX147" fmla="*/ 4500586 w 12192000"/>
              <a:gd name="connsiteY147" fmla="*/ 1675912 h 2079137"/>
              <a:gd name="connsiteX148" fmla="*/ 4488196 w 12192000"/>
              <a:gd name="connsiteY148" fmla="*/ 1683463 h 2079137"/>
              <a:gd name="connsiteX149" fmla="*/ 4445463 w 12192000"/>
              <a:gd name="connsiteY149" fmla="*/ 1695634 h 2079137"/>
              <a:gd name="connsiteX150" fmla="*/ 4446550 w 12192000"/>
              <a:gd name="connsiteY150" fmla="*/ 1680538 h 2079137"/>
              <a:gd name="connsiteX151" fmla="*/ 4365375 w 12192000"/>
              <a:gd name="connsiteY151" fmla="*/ 1697935 h 2079137"/>
              <a:gd name="connsiteX152" fmla="*/ 4305123 w 12192000"/>
              <a:gd name="connsiteY152" fmla="*/ 1714185 h 2079137"/>
              <a:gd name="connsiteX153" fmla="*/ 4292665 w 12192000"/>
              <a:gd name="connsiteY153" fmla="*/ 1720703 h 2079137"/>
              <a:gd name="connsiteX154" fmla="*/ 4276789 w 12192000"/>
              <a:gd name="connsiteY154" fmla="*/ 1718367 h 2079137"/>
              <a:gd name="connsiteX155" fmla="*/ 4271683 w 12192000"/>
              <a:gd name="connsiteY155" fmla="*/ 1714801 h 2079137"/>
              <a:gd name="connsiteX156" fmla="*/ 4223918 w 12192000"/>
              <a:gd name="connsiteY156" fmla="*/ 1728936 h 2079137"/>
              <a:gd name="connsiteX157" fmla="*/ 4218039 w 12192000"/>
              <a:gd name="connsiteY157" fmla="*/ 1729885 h 2079137"/>
              <a:gd name="connsiteX158" fmla="*/ 4177153 w 12192000"/>
              <a:gd name="connsiteY158" fmla="*/ 1733691 h 2079137"/>
              <a:gd name="connsiteX159" fmla="*/ 4051032 w 12192000"/>
              <a:gd name="connsiteY159" fmla="*/ 1728886 h 2079137"/>
              <a:gd name="connsiteX160" fmla="*/ 4013978 w 12192000"/>
              <a:gd name="connsiteY160" fmla="*/ 1727679 h 2079137"/>
              <a:gd name="connsiteX161" fmla="*/ 3987857 w 12192000"/>
              <a:gd name="connsiteY161" fmla="*/ 1724282 h 2079137"/>
              <a:gd name="connsiteX162" fmla="*/ 3916852 w 12192000"/>
              <a:gd name="connsiteY162" fmla="*/ 1729184 h 2079137"/>
              <a:gd name="connsiteX163" fmla="*/ 3797263 w 12192000"/>
              <a:gd name="connsiteY163" fmla="*/ 1742976 h 2079137"/>
              <a:gd name="connsiteX164" fmla="*/ 3752806 w 12192000"/>
              <a:gd name="connsiteY164" fmla="*/ 1741033 h 2079137"/>
              <a:gd name="connsiteX165" fmla="*/ 3749997 w 12192000"/>
              <a:gd name="connsiteY165" fmla="*/ 1735799 h 2079137"/>
              <a:gd name="connsiteX166" fmla="*/ 3736582 w 12192000"/>
              <a:gd name="connsiteY166" fmla="*/ 1735907 h 2079137"/>
              <a:gd name="connsiteX167" fmla="*/ 3733428 w 12192000"/>
              <a:gd name="connsiteY167" fmla="*/ 1734881 h 2079137"/>
              <a:gd name="connsiteX168" fmla="*/ 3714911 w 12192000"/>
              <a:gd name="connsiteY168" fmla="*/ 1730056 h 2079137"/>
              <a:gd name="connsiteX169" fmla="*/ 3665172 w 12192000"/>
              <a:gd name="connsiteY169" fmla="*/ 1745936 h 2079137"/>
              <a:gd name="connsiteX170" fmla="*/ 3552006 w 12192000"/>
              <a:gd name="connsiteY170" fmla="*/ 1755220 h 2079137"/>
              <a:gd name="connsiteX171" fmla="*/ 3390301 w 12192000"/>
              <a:gd name="connsiteY171" fmla="*/ 1762546 h 2079137"/>
              <a:gd name="connsiteX172" fmla="*/ 3264312 w 12192000"/>
              <a:gd name="connsiteY172" fmla="*/ 1774620 h 2079137"/>
              <a:gd name="connsiteX173" fmla="*/ 3106901 w 12192000"/>
              <a:gd name="connsiteY173" fmla="*/ 1804264 h 2079137"/>
              <a:gd name="connsiteX174" fmla="*/ 2993303 w 12192000"/>
              <a:gd name="connsiteY174" fmla="*/ 1806542 h 2079137"/>
              <a:gd name="connsiteX175" fmla="*/ 2979115 w 12192000"/>
              <a:gd name="connsiteY175" fmla="*/ 1815432 h 2079137"/>
              <a:gd name="connsiteX176" fmla="*/ 2963118 w 12192000"/>
              <a:gd name="connsiteY176" fmla="*/ 1820962 h 2079137"/>
              <a:gd name="connsiteX177" fmla="*/ 2961156 w 12192000"/>
              <a:gd name="connsiteY177" fmla="*/ 1820297 h 2079137"/>
              <a:gd name="connsiteX178" fmla="*/ 2925719 w 12192000"/>
              <a:gd name="connsiteY178" fmla="*/ 1828468 h 2079137"/>
              <a:gd name="connsiteX179" fmla="*/ 2857951 w 12192000"/>
              <a:gd name="connsiteY179" fmla="*/ 1842496 h 2079137"/>
              <a:gd name="connsiteX180" fmla="*/ 2857427 w 12192000"/>
              <a:gd name="connsiteY180" fmla="*/ 1841591 h 2079137"/>
              <a:gd name="connsiteX181" fmla="*/ 2846731 w 12192000"/>
              <a:gd name="connsiteY181" fmla="*/ 1839316 h 2079137"/>
              <a:gd name="connsiteX182" fmla="*/ 2826290 w 12192000"/>
              <a:gd name="connsiteY182" fmla="*/ 1837274 h 2079137"/>
              <a:gd name="connsiteX183" fmla="*/ 2779146 w 12192000"/>
              <a:gd name="connsiteY183" fmla="*/ 1820071 h 2079137"/>
              <a:gd name="connsiteX184" fmla="*/ 2739608 w 12192000"/>
              <a:gd name="connsiteY184" fmla="*/ 1827861 h 2079137"/>
              <a:gd name="connsiteX185" fmla="*/ 2731631 w 12192000"/>
              <a:gd name="connsiteY185" fmla="*/ 1828881 h 2079137"/>
              <a:gd name="connsiteX186" fmla="*/ 2731464 w 12192000"/>
              <a:gd name="connsiteY186" fmla="*/ 1828677 h 2079137"/>
              <a:gd name="connsiteX187" fmla="*/ 2723037 w 12192000"/>
              <a:gd name="connsiteY187" fmla="*/ 1829303 h 2079137"/>
              <a:gd name="connsiteX188" fmla="*/ 2701616 w 12192000"/>
              <a:gd name="connsiteY188" fmla="*/ 1832725 h 2079137"/>
              <a:gd name="connsiteX189" fmla="*/ 2696239 w 12192000"/>
              <a:gd name="connsiteY189" fmla="*/ 1831904 h 2079137"/>
              <a:gd name="connsiteX190" fmla="*/ 2663445 w 12192000"/>
              <a:gd name="connsiteY190" fmla="*/ 1825958 h 2079137"/>
              <a:gd name="connsiteX191" fmla="*/ 2560925 w 12192000"/>
              <a:gd name="connsiteY191" fmla="*/ 1829094 h 2079137"/>
              <a:gd name="connsiteX192" fmla="*/ 2458739 w 12192000"/>
              <a:gd name="connsiteY192" fmla="*/ 1834479 h 2079137"/>
              <a:gd name="connsiteX193" fmla="*/ 2356074 w 12192000"/>
              <a:gd name="connsiteY193" fmla="*/ 1836991 h 2079137"/>
              <a:gd name="connsiteX194" fmla="*/ 2304241 w 12192000"/>
              <a:gd name="connsiteY194" fmla="*/ 1822021 h 2079137"/>
              <a:gd name="connsiteX195" fmla="*/ 2298362 w 12192000"/>
              <a:gd name="connsiteY195" fmla="*/ 1822125 h 2079137"/>
              <a:gd name="connsiteX196" fmla="*/ 2283527 w 12192000"/>
              <a:gd name="connsiteY196" fmla="*/ 1826361 h 2079137"/>
              <a:gd name="connsiteX197" fmla="*/ 2278150 w 12192000"/>
              <a:gd name="connsiteY197" fmla="*/ 1828604 h 2079137"/>
              <a:gd name="connsiteX198" fmla="*/ 2269853 w 12192000"/>
              <a:gd name="connsiteY198" fmla="*/ 1830502 h 2079137"/>
              <a:gd name="connsiteX199" fmla="*/ 2269585 w 12192000"/>
              <a:gd name="connsiteY199" fmla="*/ 1830341 h 2079137"/>
              <a:gd name="connsiteX200" fmla="*/ 2225332 w 12192000"/>
              <a:gd name="connsiteY200" fmla="*/ 1845825 h 2079137"/>
              <a:gd name="connsiteX201" fmla="*/ 2169048 w 12192000"/>
              <a:gd name="connsiteY201" fmla="*/ 1837658 h 2079137"/>
              <a:gd name="connsiteX202" fmla="*/ 2147231 w 12192000"/>
              <a:gd name="connsiteY202" fmla="*/ 1839027 h 2079137"/>
              <a:gd name="connsiteX203" fmla="*/ 2135241 w 12192000"/>
              <a:gd name="connsiteY203" fmla="*/ 1838652 h 2079137"/>
              <a:gd name="connsiteX204" fmla="*/ 2099215 w 12192000"/>
              <a:gd name="connsiteY204" fmla="*/ 1850768 h 2079137"/>
              <a:gd name="connsiteX205" fmla="*/ 2094046 w 12192000"/>
              <a:gd name="connsiteY205" fmla="*/ 1850806 h 2079137"/>
              <a:gd name="connsiteX206" fmla="*/ 2071850 w 12192000"/>
              <a:gd name="connsiteY206" fmla="*/ 1861319 h 2079137"/>
              <a:gd name="connsiteX207" fmla="*/ 2039607 w 12192000"/>
              <a:gd name="connsiteY207" fmla="*/ 1874318 h 2079137"/>
              <a:gd name="connsiteX208" fmla="*/ 2037289 w 12192000"/>
              <a:gd name="connsiteY208" fmla="*/ 1874025 h 2079137"/>
              <a:gd name="connsiteX209" fmla="*/ 2023615 w 12192000"/>
              <a:gd name="connsiteY209" fmla="*/ 1881562 h 2079137"/>
              <a:gd name="connsiteX210" fmla="*/ 1957176 w 12192000"/>
              <a:gd name="connsiteY210" fmla="*/ 1898709 h 2079137"/>
              <a:gd name="connsiteX211" fmla="*/ 1858081 w 12192000"/>
              <a:gd name="connsiteY211" fmla="*/ 1923144 h 2079137"/>
              <a:gd name="connsiteX212" fmla="*/ 1738865 w 12192000"/>
              <a:gd name="connsiteY212" fmla="*/ 1944965 h 2079137"/>
              <a:gd name="connsiteX213" fmla="*/ 1616692 w 12192000"/>
              <a:gd name="connsiteY213" fmla="*/ 1989107 h 2079137"/>
              <a:gd name="connsiteX214" fmla="*/ 1411898 w 12192000"/>
              <a:gd name="connsiteY214" fmla="*/ 2046254 h 2079137"/>
              <a:gd name="connsiteX215" fmla="*/ 1375780 w 12192000"/>
              <a:gd name="connsiteY215" fmla="*/ 2047961 h 2079137"/>
              <a:gd name="connsiteX216" fmla="*/ 1375707 w 12192000"/>
              <a:gd name="connsiteY216" fmla="*/ 2047981 h 2079137"/>
              <a:gd name="connsiteX217" fmla="*/ 1285585 w 12192000"/>
              <a:gd name="connsiteY217" fmla="*/ 2047113 h 2079137"/>
              <a:gd name="connsiteX218" fmla="*/ 1263658 w 12192000"/>
              <a:gd name="connsiteY218" fmla="*/ 2041397 h 2079137"/>
              <a:gd name="connsiteX219" fmla="*/ 1170403 w 12192000"/>
              <a:gd name="connsiteY219" fmla="*/ 2033399 h 2079137"/>
              <a:gd name="connsiteX220" fmla="*/ 1153718 w 12192000"/>
              <a:gd name="connsiteY220" fmla="*/ 2029576 h 2079137"/>
              <a:gd name="connsiteX221" fmla="*/ 1133937 w 12192000"/>
              <a:gd name="connsiteY221" fmla="*/ 2032149 h 2079137"/>
              <a:gd name="connsiteX222" fmla="*/ 1054999 w 12192000"/>
              <a:gd name="connsiteY222" fmla="*/ 2043242 h 2079137"/>
              <a:gd name="connsiteX223" fmla="*/ 1018405 w 12192000"/>
              <a:gd name="connsiteY223" fmla="*/ 2048281 h 2079137"/>
              <a:gd name="connsiteX224" fmla="*/ 1016563 w 12192000"/>
              <a:gd name="connsiteY224" fmla="*/ 2051718 h 2079137"/>
              <a:gd name="connsiteX225" fmla="*/ 1008284 w 12192000"/>
              <a:gd name="connsiteY225" fmla="*/ 2046742 h 2079137"/>
              <a:gd name="connsiteX226" fmla="*/ 981974 w 12192000"/>
              <a:gd name="connsiteY226" fmla="*/ 2048363 h 2079137"/>
              <a:gd name="connsiteX227" fmla="*/ 971903 w 12192000"/>
              <a:gd name="connsiteY227" fmla="*/ 2053484 h 2079137"/>
              <a:gd name="connsiteX228" fmla="*/ 954015 w 12192000"/>
              <a:gd name="connsiteY228" fmla="*/ 2052529 h 2079137"/>
              <a:gd name="connsiteX229" fmla="*/ 839571 w 12192000"/>
              <a:gd name="connsiteY229" fmla="*/ 2046509 h 2079137"/>
              <a:gd name="connsiteX230" fmla="*/ 823321 w 12192000"/>
              <a:gd name="connsiteY230" fmla="*/ 2054296 h 2079137"/>
              <a:gd name="connsiteX231" fmla="*/ 800990 w 12192000"/>
              <a:gd name="connsiteY231" fmla="*/ 2051523 h 2079137"/>
              <a:gd name="connsiteX232" fmla="*/ 776439 w 12192000"/>
              <a:gd name="connsiteY232" fmla="*/ 2062634 h 2079137"/>
              <a:gd name="connsiteX233" fmla="*/ 763041 w 12192000"/>
              <a:gd name="connsiteY233" fmla="*/ 2063995 h 2079137"/>
              <a:gd name="connsiteX234" fmla="*/ 757863 w 12192000"/>
              <a:gd name="connsiteY234" fmla="*/ 2065877 h 2079137"/>
              <a:gd name="connsiteX235" fmla="*/ 745053 w 12192000"/>
              <a:gd name="connsiteY235" fmla="*/ 2051831 h 2079137"/>
              <a:gd name="connsiteX236" fmla="*/ 722609 w 12192000"/>
              <a:gd name="connsiteY236" fmla="*/ 2049504 h 2079137"/>
              <a:gd name="connsiteX237" fmla="*/ 717618 w 12192000"/>
              <a:gd name="connsiteY237" fmla="*/ 2042131 h 2079137"/>
              <a:gd name="connsiteX238" fmla="*/ 703285 w 12192000"/>
              <a:gd name="connsiteY238" fmla="*/ 2046808 h 2079137"/>
              <a:gd name="connsiteX239" fmla="*/ 680199 w 12192000"/>
              <a:gd name="connsiteY239" fmla="*/ 2051947 h 2079137"/>
              <a:gd name="connsiteX240" fmla="*/ 667351 w 12192000"/>
              <a:gd name="connsiteY240" fmla="*/ 2054469 h 2079137"/>
              <a:gd name="connsiteX241" fmla="*/ 660961 w 12192000"/>
              <a:gd name="connsiteY241" fmla="*/ 2049404 h 2079137"/>
              <a:gd name="connsiteX242" fmla="*/ 638282 w 12192000"/>
              <a:gd name="connsiteY242" fmla="*/ 2060093 h 2079137"/>
              <a:gd name="connsiteX243" fmla="*/ 583551 w 12192000"/>
              <a:gd name="connsiteY243" fmla="*/ 2070197 h 2079137"/>
              <a:gd name="connsiteX244" fmla="*/ 525274 w 12192000"/>
              <a:gd name="connsiteY244" fmla="*/ 2079137 h 2079137"/>
              <a:gd name="connsiteX245" fmla="*/ 405635 w 12192000"/>
              <a:gd name="connsiteY245" fmla="*/ 2059339 h 2079137"/>
              <a:gd name="connsiteX246" fmla="*/ 281555 w 12192000"/>
              <a:gd name="connsiteY246" fmla="*/ 2022847 h 2079137"/>
              <a:gd name="connsiteX247" fmla="*/ 98513 w 12192000"/>
              <a:gd name="connsiteY247" fmla="*/ 1969504 h 2079137"/>
              <a:gd name="connsiteX248" fmla="*/ 56191 w 12192000"/>
              <a:gd name="connsiteY248" fmla="*/ 1950709 h 2079137"/>
              <a:gd name="connsiteX249" fmla="*/ 0 w 12192000"/>
              <a:gd name="connsiteY249" fmla="*/ 1935789 h 207913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  <a:cxn ang="0">
                <a:pos x="connsiteX143" y="connsiteY143"/>
              </a:cxn>
              <a:cxn ang="0">
                <a:pos x="connsiteX144" y="connsiteY144"/>
              </a:cxn>
              <a:cxn ang="0">
                <a:pos x="connsiteX145" y="connsiteY145"/>
              </a:cxn>
              <a:cxn ang="0">
                <a:pos x="connsiteX146" y="connsiteY146"/>
              </a:cxn>
              <a:cxn ang="0">
                <a:pos x="connsiteX147" y="connsiteY147"/>
              </a:cxn>
              <a:cxn ang="0">
                <a:pos x="connsiteX148" y="connsiteY148"/>
              </a:cxn>
              <a:cxn ang="0">
                <a:pos x="connsiteX149" y="connsiteY149"/>
              </a:cxn>
              <a:cxn ang="0">
                <a:pos x="connsiteX150" y="connsiteY150"/>
              </a:cxn>
              <a:cxn ang="0">
                <a:pos x="connsiteX151" y="connsiteY151"/>
              </a:cxn>
              <a:cxn ang="0">
                <a:pos x="connsiteX152" y="connsiteY152"/>
              </a:cxn>
              <a:cxn ang="0">
                <a:pos x="connsiteX153" y="connsiteY153"/>
              </a:cxn>
              <a:cxn ang="0">
                <a:pos x="connsiteX154" y="connsiteY154"/>
              </a:cxn>
              <a:cxn ang="0">
                <a:pos x="connsiteX155" y="connsiteY155"/>
              </a:cxn>
              <a:cxn ang="0">
                <a:pos x="connsiteX156" y="connsiteY156"/>
              </a:cxn>
              <a:cxn ang="0">
                <a:pos x="connsiteX157" y="connsiteY157"/>
              </a:cxn>
              <a:cxn ang="0">
                <a:pos x="connsiteX158" y="connsiteY158"/>
              </a:cxn>
              <a:cxn ang="0">
                <a:pos x="connsiteX159" y="connsiteY159"/>
              </a:cxn>
              <a:cxn ang="0">
                <a:pos x="connsiteX160" y="connsiteY160"/>
              </a:cxn>
              <a:cxn ang="0">
                <a:pos x="connsiteX161" y="connsiteY161"/>
              </a:cxn>
              <a:cxn ang="0">
                <a:pos x="connsiteX162" y="connsiteY162"/>
              </a:cxn>
              <a:cxn ang="0">
                <a:pos x="connsiteX163" y="connsiteY163"/>
              </a:cxn>
              <a:cxn ang="0">
                <a:pos x="connsiteX164" y="connsiteY164"/>
              </a:cxn>
              <a:cxn ang="0">
                <a:pos x="connsiteX165" y="connsiteY165"/>
              </a:cxn>
              <a:cxn ang="0">
                <a:pos x="connsiteX166" y="connsiteY166"/>
              </a:cxn>
              <a:cxn ang="0">
                <a:pos x="connsiteX167" y="connsiteY167"/>
              </a:cxn>
              <a:cxn ang="0">
                <a:pos x="connsiteX168" y="connsiteY168"/>
              </a:cxn>
              <a:cxn ang="0">
                <a:pos x="connsiteX169" y="connsiteY169"/>
              </a:cxn>
              <a:cxn ang="0">
                <a:pos x="connsiteX170" y="connsiteY170"/>
              </a:cxn>
              <a:cxn ang="0">
                <a:pos x="connsiteX171" y="connsiteY171"/>
              </a:cxn>
              <a:cxn ang="0">
                <a:pos x="connsiteX172" y="connsiteY172"/>
              </a:cxn>
              <a:cxn ang="0">
                <a:pos x="connsiteX173" y="connsiteY173"/>
              </a:cxn>
              <a:cxn ang="0">
                <a:pos x="connsiteX174" y="connsiteY174"/>
              </a:cxn>
              <a:cxn ang="0">
                <a:pos x="connsiteX175" y="connsiteY175"/>
              </a:cxn>
              <a:cxn ang="0">
                <a:pos x="connsiteX176" y="connsiteY176"/>
              </a:cxn>
              <a:cxn ang="0">
                <a:pos x="connsiteX177" y="connsiteY177"/>
              </a:cxn>
              <a:cxn ang="0">
                <a:pos x="connsiteX178" y="connsiteY178"/>
              </a:cxn>
              <a:cxn ang="0">
                <a:pos x="connsiteX179" y="connsiteY179"/>
              </a:cxn>
              <a:cxn ang="0">
                <a:pos x="connsiteX180" y="connsiteY180"/>
              </a:cxn>
              <a:cxn ang="0">
                <a:pos x="connsiteX181" y="connsiteY181"/>
              </a:cxn>
              <a:cxn ang="0">
                <a:pos x="connsiteX182" y="connsiteY182"/>
              </a:cxn>
              <a:cxn ang="0">
                <a:pos x="connsiteX183" y="connsiteY183"/>
              </a:cxn>
              <a:cxn ang="0">
                <a:pos x="connsiteX184" y="connsiteY184"/>
              </a:cxn>
              <a:cxn ang="0">
                <a:pos x="connsiteX185" y="connsiteY185"/>
              </a:cxn>
              <a:cxn ang="0">
                <a:pos x="connsiteX186" y="connsiteY186"/>
              </a:cxn>
              <a:cxn ang="0">
                <a:pos x="connsiteX187" y="connsiteY187"/>
              </a:cxn>
              <a:cxn ang="0">
                <a:pos x="connsiteX188" y="connsiteY188"/>
              </a:cxn>
              <a:cxn ang="0">
                <a:pos x="connsiteX189" y="connsiteY189"/>
              </a:cxn>
              <a:cxn ang="0">
                <a:pos x="connsiteX190" y="connsiteY190"/>
              </a:cxn>
              <a:cxn ang="0">
                <a:pos x="connsiteX191" y="connsiteY191"/>
              </a:cxn>
              <a:cxn ang="0">
                <a:pos x="connsiteX192" y="connsiteY192"/>
              </a:cxn>
              <a:cxn ang="0">
                <a:pos x="connsiteX193" y="connsiteY193"/>
              </a:cxn>
              <a:cxn ang="0">
                <a:pos x="connsiteX194" y="connsiteY194"/>
              </a:cxn>
              <a:cxn ang="0">
                <a:pos x="connsiteX195" y="connsiteY195"/>
              </a:cxn>
              <a:cxn ang="0">
                <a:pos x="connsiteX196" y="connsiteY196"/>
              </a:cxn>
              <a:cxn ang="0">
                <a:pos x="connsiteX197" y="connsiteY197"/>
              </a:cxn>
              <a:cxn ang="0">
                <a:pos x="connsiteX198" y="connsiteY198"/>
              </a:cxn>
              <a:cxn ang="0">
                <a:pos x="connsiteX199" y="connsiteY199"/>
              </a:cxn>
              <a:cxn ang="0">
                <a:pos x="connsiteX200" y="connsiteY200"/>
              </a:cxn>
              <a:cxn ang="0">
                <a:pos x="connsiteX201" y="connsiteY201"/>
              </a:cxn>
              <a:cxn ang="0">
                <a:pos x="connsiteX202" y="connsiteY202"/>
              </a:cxn>
              <a:cxn ang="0">
                <a:pos x="connsiteX203" y="connsiteY203"/>
              </a:cxn>
              <a:cxn ang="0">
                <a:pos x="connsiteX204" y="connsiteY204"/>
              </a:cxn>
              <a:cxn ang="0">
                <a:pos x="connsiteX205" y="connsiteY205"/>
              </a:cxn>
              <a:cxn ang="0">
                <a:pos x="connsiteX206" y="connsiteY206"/>
              </a:cxn>
              <a:cxn ang="0">
                <a:pos x="connsiteX207" y="connsiteY207"/>
              </a:cxn>
              <a:cxn ang="0">
                <a:pos x="connsiteX208" y="connsiteY208"/>
              </a:cxn>
              <a:cxn ang="0">
                <a:pos x="connsiteX209" y="connsiteY209"/>
              </a:cxn>
              <a:cxn ang="0">
                <a:pos x="connsiteX210" y="connsiteY210"/>
              </a:cxn>
              <a:cxn ang="0">
                <a:pos x="connsiteX211" y="connsiteY211"/>
              </a:cxn>
              <a:cxn ang="0">
                <a:pos x="connsiteX212" y="connsiteY212"/>
              </a:cxn>
              <a:cxn ang="0">
                <a:pos x="connsiteX213" y="connsiteY213"/>
              </a:cxn>
              <a:cxn ang="0">
                <a:pos x="connsiteX214" y="connsiteY214"/>
              </a:cxn>
              <a:cxn ang="0">
                <a:pos x="connsiteX215" y="connsiteY215"/>
              </a:cxn>
              <a:cxn ang="0">
                <a:pos x="connsiteX216" y="connsiteY216"/>
              </a:cxn>
              <a:cxn ang="0">
                <a:pos x="connsiteX217" y="connsiteY217"/>
              </a:cxn>
              <a:cxn ang="0">
                <a:pos x="connsiteX218" y="connsiteY218"/>
              </a:cxn>
              <a:cxn ang="0">
                <a:pos x="connsiteX219" y="connsiteY219"/>
              </a:cxn>
              <a:cxn ang="0">
                <a:pos x="connsiteX220" y="connsiteY220"/>
              </a:cxn>
              <a:cxn ang="0">
                <a:pos x="connsiteX221" y="connsiteY221"/>
              </a:cxn>
              <a:cxn ang="0">
                <a:pos x="connsiteX222" y="connsiteY222"/>
              </a:cxn>
              <a:cxn ang="0">
                <a:pos x="connsiteX223" y="connsiteY223"/>
              </a:cxn>
              <a:cxn ang="0">
                <a:pos x="connsiteX224" y="connsiteY224"/>
              </a:cxn>
              <a:cxn ang="0">
                <a:pos x="connsiteX225" y="connsiteY225"/>
              </a:cxn>
              <a:cxn ang="0">
                <a:pos x="connsiteX226" y="connsiteY226"/>
              </a:cxn>
              <a:cxn ang="0">
                <a:pos x="connsiteX227" y="connsiteY227"/>
              </a:cxn>
              <a:cxn ang="0">
                <a:pos x="connsiteX228" y="connsiteY228"/>
              </a:cxn>
              <a:cxn ang="0">
                <a:pos x="connsiteX229" y="connsiteY229"/>
              </a:cxn>
              <a:cxn ang="0">
                <a:pos x="connsiteX230" y="connsiteY230"/>
              </a:cxn>
              <a:cxn ang="0">
                <a:pos x="connsiteX231" y="connsiteY231"/>
              </a:cxn>
              <a:cxn ang="0">
                <a:pos x="connsiteX232" y="connsiteY232"/>
              </a:cxn>
              <a:cxn ang="0">
                <a:pos x="connsiteX233" y="connsiteY233"/>
              </a:cxn>
              <a:cxn ang="0">
                <a:pos x="connsiteX234" y="connsiteY234"/>
              </a:cxn>
              <a:cxn ang="0">
                <a:pos x="connsiteX235" y="connsiteY235"/>
              </a:cxn>
              <a:cxn ang="0">
                <a:pos x="connsiteX236" y="connsiteY236"/>
              </a:cxn>
              <a:cxn ang="0">
                <a:pos x="connsiteX237" y="connsiteY237"/>
              </a:cxn>
              <a:cxn ang="0">
                <a:pos x="connsiteX238" y="connsiteY238"/>
              </a:cxn>
              <a:cxn ang="0">
                <a:pos x="connsiteX239" y="connsiteY239"/>
              </a:cxn>
              <a:cxn ang="0">
                <a:pos x="connsiteX240" y="connsiteY240"/>
              </a:cxn>
              <a:cxn ang="0">
                <a:pos x="connsiteX241" y="connsiteY241"/>
              </a:cxn>
              <a:cxn ang="0">
                <a:pos x="connsiteX242" y="connsiteY242"/>
              </a:cxn>
              <a:cxn ang="0">
                <a:pos x="connsiteX243" y="connsiteY243"/>
              </a:cxn>
              <a:cxn ang="0">
                <a:pos x="connsiteX244" y="connsiteY244"/>
              </a:cxn>
              <a:cxn ang="0">
                <a:pos x="connsiteX245" y="connsiteY245"/>
              </a:cxn>
              <a:cxn ang="0">
                <a:pos x="connsiteX246" y="connsiteY246"/>
              </a:cxn>
              <a:cxn ang="0">
                <a:pos x="connsiteX247" y="connsiteY247"/>
              </a:cxn>
              <a:cxn ang="0">
                <a:pos x="connsiteX248" y="connsiteY248"/>
              </a:cxn>
              <a:cxn ang="0">
                <a:pos x="connsiteX249" y="connsiteY249"/>
              </a:cxn>
            </a:cxnLst>
            <a:rect l="l" t="t" r="r" b="b"/>
            <a:pathLst>
              <a:path w="12192000" h="2079137">
                <a:moveTo>
                  <a:pt x="12160143" y="831692"/>
                </a:moveTo>
                <a:lnTo>
                  <a:pt x="12159112" y="833361"/>
                </a:lnTo>
                <a:cubicBezTo>
                  <a:pt x="12157915" y="833832"/>
                  <a:pt x="12157402" y="833649"/>
                  <a:pt x="12158912" y="832430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558063"/>
                </a:lnTo>
                <a:lnTo>
                  <a:pt x="12189259" y="810508"/>
                </a:lnTo>
                <a:lnTo>
                  <a:pt x="12170847" y="825280"/>
                </a:lnTo>
                <a:lnTo>
                  <a:pt x="12160143" y="831692"/>
                </a:lnTo>
                <a:lnTo>
                  <a:pt x="12163806" y="825759"/>
                </a:lnTo>
                <a:cubicBezTo>
                  <a:pt x="12125449" y="821525"/>
                  <a:pt x="12082203" y="824698"/>
                  <a:pt x="12056557" y="810176"/>
                </a:cubicBezTo>
                <a:cubicBezTo>
                  <a:pt x="12050902" y="790976"/>
                  <a:pt x="11923731" y="799312"/>
                  <a:pt x="11900316" y="789618"/>
                </a:cubicBezTo>
                <a:cubicBezTo>
                  <a:pt x="11841702" y="803374"/>
                  <a:pt x="11823963" y="832645"/>
                  <a:pt x="11791206" y="824176"/>
                </a:cubicBezTo>
                <a:cubicBezTo>
                  <a:pt x="11768977" y="817380"/>
                  <a:pt x="11683857" y="828947"/>
                  <a:pt x="11659257" y="800841"/>
                </a:cubicBezTo>
                <a:cubicBezTo>
                  <a:pt x="11617173" y="818107"/>
                  <a:pt x="11602556" y="790694"/>
                  <a:pt x="11569789" y="797135"/>
                </a:cubicBezTo>
                <a:cubicBezTo>
                  <a:pt x="11498310" y="795094"/>
                  <a:pt x="11458472" y="819882"/>
                  <a:pt x="11367885" y="791985"/>
                </a:cubicBezTo>
                <a:cubicBezTo>
                  <a:pt x="11325508" y="798158"/>
                  <a:pt x="11266580" y="755023"/>
                  <a:pt x="11174663" y="788721"/>
                </a:cubicBezTo>
                <a:cubicBezTo>
                  <a:pt x="11122703" y="792192"/>
                  <a:pt x="11150009" y="775410"/>
                  <a:pt x="11068220" y="786994"/>
                </a:cubicBezTo>
                <a:cubicBezTo>
                  <a:pt x="11046931" y="759861"/>
                  <a:pt x="10919185" y="793102"/>
                  <a:pt x="10893266" y="794013"/>
                </a:cubicBezTo>
                <a:cubicBezTo>
                  <a:pt x="10874184" y="776189"/>
                  <a:pt x="10862860" y="788743"/>
                  <a:pt x="10844025" y="789857"/>
                </a:cubicBezTo>
                <a:cubicBezTo>
                  <a:pt x="10836453" y="779294"/>
                  <a:pt x="10820690" y="778184"/>
                  <a:pt x="10814353" y="789010"/>
                </a:cubicBezTo>
                <a:cubicBezTo>
                  <a:pt x="10819669" y="816016"/>
                  <a:pt x="10754019" y="789067"/>
                  <a:pt x="10748393" y="806738"/>
                </a:cubicBezTo>
                <a:cubicBezTo>
                  <a:pt x="10687156" y="807873"/>
                  <a:pt x="10550299" y="781800"/>
                  <a:pt x="10468256" y="778733"/>
                </a:cubicBezTo>
                <a:cubicBezTo>
                  <a:pt x="10436666" y="770025"/>
                  <a:pt x="10371995" y="797252"/>
                  <a:pt x="10256131" y="788332"/>
                </a:cubicBezTo>
                <a:cubicBezTo>
                  <a:pt x="10240995" y="781626"/>
                  <a:pt x="10182664" y="765742"/>
                  <a:pt x="10177442" y="777371"/>
                </a:cubicBezTo>
                <a:cubicBezTo>
                  <a:pt x="10141447" y="775683"/>
                  <a:pt x="10030323" y="810071"/>
                  <a:pt x="10006086" y="792651"/>
                </a:cubicBezTo>
                <a:cubicBezTo>
                  <a:pt x="10009448" y="818833"/>
                  <a:pt x="9960389" y="791426"/>
                  <a:pt x="9952382" y="815411"/>
                </a:cubicBezTo>
                <a:lnTo>
                  <a:pt x="9926457" y="827295"/>
                </a:lnTo>
                <a:lnTo>
                  <a:pt x="9843405" y="867046"/>
                </a:lnTo>
                <a:lnTo>
                  <a:pt x="9830866" y="875047"/>
                </a:lnTo>
                <a:lnTo>
                  <a:pt x="9801807" y="872272"/>
                </a:lnTo>
                <a:lnTo>
                  <a:pt x="9785653" y="861743"/>
                </a:lnTo>
                <a:lnTo>
                  <a:pt x="9781177" y="864820"/>
                </a:lnTo>
                <a:cubicBezTo>
                  <a:pt x="9776153" y="871003"/>
                  <a:pt x="9773556" y="874842"/>
                  <a:pt x="9768640" y="869379"/>
                </a:cubicBezTo>
                <a:lnTo>
                  <a:pt x="9712211" y="900283"/>
                </a:lnTo>
                <a:cubicBezTo>
                  <a:pt x="9706243" y="902750"/>
                  <a:pt x="9698952" y="902954"/>
                  <a:pt x="9689465" y="899268"/>
                </a:cubicBezTo>
                <a:cubicBezTo>
                  <a:pt x="9670819" y="902906"/>
                  <a:pt x="9618108" y="917739"/>
                  <a:pt x="9600339" y="922112"/>
                </a:cubicBezTo>
                <a:lnTo>
                  <a:pt x="9582850" y="925510"/>
                </a:lnTo>
                <a:cubicBezTo>
                  <a:pt x="9574400" y="928631"/>
                  <a:pt x="9556868" y="938130"/>
                  <a:pt x="9549638" y="940845"/>
                </a:cubicBezTo>
                <a:cubicBezTo>
                  <a:pt x="9543792" y="942327"/>
                  <a:pt x="9546812" y="939351"/>
                  <a:pt x="9539471" y="941799"/>
                </a:cubicBezTo>
                <a:cubicBezTo>
                  <a:pt x="9538994" y="947702"/>
                  <a:pt x="9536009" y="953248"/>
                  <a:pt x="9505592" y="955533"/>
                </a:cubicBezTo>
                <a:cubicBezTo>
                  <a:pt x="9486013" y="968563"/>
                  <a:pt x="9460860" y="978842"/>
                  <a:pt x="9432569" y="985377"/>
                </a:cubicBezTo>
                <a:cubicBezTo>
                  <a:pt x="9426990" y="980335"/>
                  <a:pt x="9418918" y="990185"/>
                  <a:pt x="9414216" y="992655"/>
                </a:cubicBezTo>
                <a:cubicBezTo>
                  <a:pt x="9412644" y="989014"/>
                  <a:pt x="9400057" y="989255"/>
                  <a:pt x="9397106" y="992980"/>
                </a:cubicBezTo>
                <a:cubicBezTo>
                  <a:pt x="9314093" y="1020862"/>
                  <a:pt x="9349678" y="978420"/>
                  <a:pt x="9305108" y="1007767"/>
                </a:cubicBezTo>
                <a:cubicBezTo>
                  <a:pt x="9296670" y="1010324"/>
                  <a:pt x="9289251" y="1009612"/>
                  <a:pt x="9282434" y="1007523"/>
                </a:cubicBezTo>
                <a:lnTo>
                  <a:pt x="9271941" y="1002839"/>
                </a:lnTo>
                <a:lnTo>
                  <a:pt x="9238227" y="1017668"/>
                </a:lnTo>
                <a:cubicBezTo>
                  <a:pt x="9221294" y="1023415"/>
                  <a:pt x="9203166" y="1027997"/>
                  <a:pt x="9184265" y="1031275"/>
                </a:cubicBezTo>
                <a:cubicBezTo>
                  <a:pt x="9178371" y="1024135"/>
                  <a:pt x="9165618" y="1036637"/>
                  <a:pt x="9159000" y="1039569"/>
                </a:cubicBezTo>
                <a:cubicBezTo>
                  <a:pt x="9157881" y="1034602"/>
                  <a:pt x="9141725" y="1033964"/>
                  <a:pt x="9137031" y="1038699"/>
                </a:cubicBezTo>
                <a:cubicBezTo>
                  <a:pt x="9023973" y="1069523"/>
                  <a:pt x="9079946" y="1015706"/>
                  <a:pt x="9015702" y="1051400"/>
                </a:cubicBezTo>
                <a:lnTo>
                  <a:pt x="8971403" y="1040542"/>
                </a:lnTo>
                <a:lnTo>
                  <a:pt x="8961826" y="1045364"/>
                </a:lnTo>
                <a:cubicBezTo>
                  <a:pt x="8922837" y="1050010"/>
                  <a:pt x="8909116" y="1040754"/>
                  <a:pt x="8888623" y="1053908"/>
                </a:cubicBezTo>
                <a:cubicBezTo>
                  <a:pt x="8850424" y="1035587"/>
                  <a:pt x="8865892" y="1054194"/>
                  <a:pt x="8841066" y="1060421"/>
                </a:cubicBezTo>
                <a:cubicBezTo>
                  <a:pt x="8818353" y="1064878"/>
                  <a:pt x="8775995" y="1076068"/>
                  <a:pt x="8752342" y="1080646"/>
                </a:cubicBezTo>
                <a:cubicBezTo>
                  <a:pt x="8736966" y="1099406"/>
                  <a:pt x="8723186" y="1079948"/>
                  <a:pt x="8699139" y="1087885"/>
                </a:cubicBezTo>
                <a:cubicBezTo>
                  <a:pt x="8688630" y="1095506"/>
                  <a:pt x="8680324" y="1097539"/>
                  <a:pt x="8667273" y="1092062"/>
                </a:cubicBezTo>
                <a:cubicBezTo>
                  <a:pt x="8619205" y="1128818"/>
                  <a:pt x="8634590" y="1097116"/>
                  <a:pt x="8586064" y="1114603"/>
                </a:cubicBezTo>
                <a:cubicBezTo>
                  <a:pt x="8544721" y="1131913"/>
                  <a:pt x="8496602" y="1145520"/>
                  <a:pt x="8460312" y="1179878"/>
                </a:cubicBezTo>
                <a:cubicBezTo>
                  <a:pt x="8454266" y="1189140"/>
                  <a:pt x="8435781" y="1194455"/>
                  <a:pt x="8419023" y="1191748"/>
                </a:cubicBezTo>
                <a:cubicBezTo>
                  <a:pt x="8416138" y="1191283"/>
                  <a:pt x="8413416" y="1190591"/>
                  <a:pt x="8410939" y="1189696"/>
                </a:cubicBezTo>
                <a:cubicBezTo>
                  <a:pt x="8390077" y="1213458"/>
                  <a:pt x="8370324" y="1205397"/>
                  <a:pt x="8362040" y="1220820"/>
                </a:cubicBezTo>
                <a:cubicBezTo>
                  <a:pt x="8320616" y="1231942"/>
                  <a:pt x="8281663" y="1222882"/>
                  <a:pt x="8273677" y="1236495"/>
                </a:cubicBezTo>
                <a:cubicBezTo>
                  <a:pt x="8251358" y="1238573"/>
                  <a:pt x="8216738" y="1228341"/>
                  <a:pt x="8204283" y="1243537"/>
                </a:cubicBezTo>
                <a:cubicBezTo>
                  <a:pt x="8198634" y="1233135"/>
                  <a:pt x="8181550" y="1254947"/>
                  <a:pt x="8166550" y="1249551"/>
                </a:cubicBezTo>
                <a:cubicBezTo>
                  <a:pt x="8155570" y="1244572"/>
                  <a:pt x="8147825" y="1250027"/>
                  <a:pt x="8137785" y="1251636"/>
                </a:cubicBezTo>
                <a:cubicBezTo>
                  <a:pt x="8123427" y="1248361"/>
                  <a:pt x="8081662" y="1261833"/>
                  <a:pt x="8071596" y="1269274"/>
                </a:cubicBezTo>
                <a:cubicBezTo>
                  <a:pt x="8048949" y="1293759"/>
                  <a:pt x="7983924" y="1284712"/>
                  <a:pt x="7964816" y="1303668"/>
                </a:cubicBezTo>
                <a:cubicBezTo>
                  <a:pt x="7957137" y="1306992"/>
                  <a:pt x="7949335" y="1308861"/>
                  <a:pt x="7941495" y="1309821"/>
                </a:cubicBezTo>
                <a:lnTo>
                  <a:pt x="7919123" y="1310466"/>
                </a:lnTo>
                <a:lnTo>
                  <a:pt x="7911902" y="1306569"/>
                </a:lnTo>
                <a:lnTo>
                  <a:pt x="7898703" y="1309208"/>
                </a:lnTo>
                <a:lnTo>
                  <a:pt x="7894703" y="1308939"/>
                </a:lnTo>
                <a:lnTo>
                  <a:pt x="7872267" y="1308370"/>
                </a:lnTo>
                <a:cubicBezTo>
                  <a:pt x="7886550" y="1330359"/>
                  <a:pt x="7812648" y="1314851"/>
                  <a:pt x="7836454" y="1331265"/>
                </a:cubicBezTo>
                <a:cubicBezTo>
                  <a:pt x="7798907" y="1336933"/>
                  <a:pt x="7831419" y="1351068"/>
                  <a:pt x="7782451" y="1339601"/>
                </a:cubicBezTo>
                <a:cubicBezTo>
                  <a:pt x="7727636" y="1365002"/>
                  <a:pt x="7583002" y="1338768"/>
                  <a:pt x="7542969" y="1372495"/>
                </a:cubicBezTo>
                <a:cubicBezTo>
                  <a:pt x="7546396" y="1360942"/>
                  <a:pt x="7492851" y="1424323"/>
                  <a:pt x="7476832" y="1431655"/>
                </a:cubicBezTo>
                <a:cubicBezTo>
                  <a:pt x="7439619" y="1443703"/>
                  <a:pt x="7425596" y="1454661"/>
                  <a:pt x="7370237" y="1474339"/>
                </a:cubicBezTo>
                <a:cubicBezTo>
                  <a:pt x="7316246" y="1485928"/>
                  <a:pt x="7281903" y="1512712"/>
                  <a:pt x="7222223" y="1510199"/>
                </a:cubicBezTo>
                <a:cubicBezTo>
                  <a:pt x="7221190" y="1514030"/>
                  <a:pt x="7218885" y="1517398"/>
                  <a:pt x="7215703" y="1520424"/>
                </a:cubicBezTo>
                <a:lnTo>
                  <a:pt x="7204548" y="1528145"/>
                </a:lnTo>
                <a:lnTo>
                  <a:pt x="7202038" y="1527954"/>
                </a:lnTo>
                <a:lnTo>
                  <a:pt x="7173860" y="1541605"/>
                </a:lnTo>
                <a:lnTo>
                  <a:pt x="7155079" y="1552495"/>
                </a:lnTo>
                <a:lnTo>
                  <a:pt x="7149757" y="1552732"/>
                </a:lnTo>
                <a:cubicBezTo>
                  <a:pt x="7141378" y="1554948"/>
                  <a:pt x="7115959" y="1563256"/>
                  <a:pt x="7104804" y="1565792"/>
                </a:cubicBezTo>
                <a:cubicBezTo>
                  <a:pt x="7099811" y="1550850"/>
                  <a:pt x="7096935" y="1561973"/>
                  <a:pt x="7082824" y="1567947"/>
                </a:cubicBezTo>
                <a:cubicBezTo>
                  <a:pt x="7071919" y="1546070"/>
                  <a:pt x="7039417" y="1570606"/>
                  <a:pt x="7021520" y="1562334"/>
                </a:cubicBezTo>
                <a:cubicBezTo>
                  <a:pt x="7011400" y="1567217"/>
                  <a:pt x="7000495" y="1571981"/>
                  <a:pt x="6988956" y="1576442"/>
                </a:cubicBezTo>
                <a:lnTo>
                  <a:pt x="6981922" y="1578821"/>
                </a:lnTo>
                <a:lnTo>
                  <a:pt x="6981583" y="1578678"/>
                </a:lnTo>
                <a:cubicBezTo>
                  <a:pt x="6979627" y="1578791"/>
                  <a:pt x="6977153" y="1579421"/>
                  <a:pt x="6973762" y="1580811"/>
                </a:cubicBezTo>
                <a:lnTo>
                  <a:pt x="6969093" y="1583157"/>
                </a:lnTo>
                <a:lnTo>
                  <a:pt x="6890037" y="1575825"/>
                </a:lnTo>
                <a:cubicBezTo>
                  <a:pt x="6849459" y="1579997"/>
                  <a:pt x="6820022" y="1566922"/>
                  <a:pt x="6785054" y="1582200"/>
                </a:cubicBezTo>
                <a:cubicBezTo>
                  <a:pt x="6747047" y="1586037"/>
                  <a:pt x="6712794" y="1582954"/>
                  <a:pt x="6681692" y="1591296"/>
                </a:cubicBezTo>
                <a:cubicBezTo>
                  <a:pt x="6667557" y="1587501"/>
                  <a:pt x="6654822" y="1586753"/>
                  <a:pt x="6644556" y="1595940"/>
                </a:cubicBezTo>
                <a:cubicBezTo>
                  <a:pt x="6608615" y="1597269"/>
                  <a:pt x="6597697" y="1587005"/>
                  <a:pt x="6577106" y="1598261"/>
                </a:cubicBezTo>
                <a:lnTo>
                  <a:pt x="6544183" y="1596149"/>
                </a:lnTo>
                <a:lnTo>
                  <a:pt x="6540921" y="1593857"/>
                </a:lnTo>
                <a:lnTo>
                  <a:pt x="6535046" y="1593283"/>
                </a:lnTo>
                <a:lnTo>
                  <a:pt x="6519853" y="1595771"/>
                </a:lnTo>
                <a:lnTo>
                  <a:pt x="6514280" y="1597376"/>
                </a:lnTo>
                <a:cubicBezTo>
                  <a:pt x="6510385" y="1598232"/>
                  <a:pt x="6507735" y="1598481"/>
                  <a:pt x="6505824" y="1598298"/>
                </a:cubicBezTo>
                <a:lnTo>
                  <a:pt x="6505573" y="1598109"/>
                </a:lnTo>
                <a:lnTo>
                  <a:pt x="6497741" y="1599392"/>
                </a:lnTo>
                <a:cubicBezTo>
                  <a:pt x="6484628" y="1602044"/>
                  <a:pt x="6471968" y="1605085"/>
                  <a:pt x="6459992" y="1608358"/>
                </a:cubicBezTo>
                <a:cubicBezTo>
                  <a:pt x="6447037" y="1597612"/>
                  <a:pt x="6404274" y="1616787"/>
                  <a:pt x="6404572" y="1593771"/>
                </a:cubicBezTo>
                <a:cubicBezTo>
                  <a:pt x="6388277" y="1597519"/>
                  <a:pt x="6380141" y="1607970"/>
                  <a:pt x="6382671" y="1592612"/>
                </a:cubicBezTo>
                <a:lnTo>
                  <a:pt x="6369843" y="1590015"/>
                </a:lnTo>
                <a:lnTo>
                  <a:pt x="6269740" y="1614633"/>
                </a:lnTo>
                <a:lnTo>
                  <a:pt x="6255405" y="1620529"/>
                </a:lnTo>
                <a:cubicBezTo>
                  <a:pt x="6250911" y="1623016"/>
                  <a:pt x="6247090" y="1625968"/>
                  <a:pt x="6244248" y="1629561"/>
                </a:cubicBezTo>
                <a:cubicBezTo>
                  <a:pt x="6188859" y="1618246"/>
                  <a:pt x="6143250" y="1639346"/>
                  <a:pt x="6086396" y="1642666"/>
                </a:cubicBezTo>
                <a:cubicBezTo>
                  <a:pt x="6024311" y="1653696"/>
                  <a:pt x="5889522" y="1686499"/>
                  <a:pt x="5867429" y="1695554"/>
                </a:cubicBezTo>
                <a:cubicBezTo>
                  <a:pt x="5848669" y="1700350"/>
                  <a:pt x="5763994" y="1699795"/>
                  <a:pt x="5772864" y="1689002"/>
                </a:cubicBezTo>
                <a:cubicBezTo>
                  <a:pt x="5718480" y="1716048"/>
                  <a:pt x="5694188" y="1696562"/>
                  <a:pt x="5629833" y="1713273"/>
                </a:cubicBezTo>
                <a:lnTo>
                  <a:pt x="5504771" y="1725744"/>
                </a:lnTo>
                <a:lnTo>
                  <a:pt x="5490967" y="1726367"/>
                </a:lnTo>
                <a:lnTo>
                  <a:pt x="5486015" y="1721481"/>
                </a:lnTo>
                <a:lnTo>
                  <a:pt x="5439364" y="1721349"/>
                </a:lnTo>
                <a:cubicBezTo>
                  <a:pt x="5418850" y="1733129"/>
                  <a:pt x="5381503" y="1725668"/>
                  <a:pt x="5350025" y="1729885"/>
                </a:cubicBezTo>
                <a:lnTo>
                  <a:pt x="5336104" y="1734377"/>
                </a:lnTo>
                <a:lnTo>
                  <a:pt x="5245234" y="1738520"/>
                </a:lnTo>
                <a:lnTo>
                  <a:pt x="5182955" y="1744622"/>
                </a:lnTo>
                <a:lnTo>
                  <a:pt x="5169506" y="1748993"/>
                </a:lnTo>
                <a:lnTo>
                  <a:pt x="5154299" y="1744080"/>
                </a:lnTo>
                <a:cubicBezTo>
                  <a:pt x="5152463" y="1742751"/>
                  <a:pt x="5150989" y="1741283"/>
                  <a:pt x="5149917" y="1739727"/>
                </a:cubicBezTo>
                <a:lnTo>
                  <a:pt x="5100319" y="1745797"/>
                </a:lnTo>
                <a:lnTo>
                  <a:pt x="5094361" y="1745767"/>
                </a:lnTo>
                <a:lnTo>
                  <a:pt x="5053410" y="1742790"/>
                </a:lnTo>
                <a:lnTo>
                  <a:pt x="4992711" y="1734075"/>
                </a:lnTo>
                <a:cubicBezTo>
                  <a:pt x="4972764" y="1728527"/>
                  <a:pt x="4955480" y="1708667"/>
                  <a:pt x="4930098" y="1717312"/>
                </a:cubicBezTo>
                <a:cubicBezTo>
                  <a:pt x="4936142" y="1706767"/>
                  <a:pt x="4900350" y="1719438"/>
                  <a:pt x="4893834" y="1710028"/>
                </a:cubicBezTo>
                <a:cubicBezTo>
                  <a:pt x="4890113" y="1702277"/>
                  <a:pt x="4878389" y="1704314"/>
                  <a:pt x="4868730" y="1702384"/>
                </a:cubicBezTo>
                <a:cubicBezTo>
                  <a:pt x="4860577" y="1694955"/>
                  <a:pt x="4813519" y="1692594"/>
                  <a:pt x="4797925" y="1695535"/>
                </a:cubicBezTo>
                <a:cubicBezTo>
                  <a:pt x="4754973" y="1708626"/>
                  <a:pt x="4712186" y="1679830"/>
                  <a:pt x="4677670" y="1689453"/>
                </a:cubicBezTo>
                <a:cubicBezTo>
                  <a:pt x="4650390" y="1686902"/>
                  <a:pt x="4641786" y="1682702"/>
                  <a:pt x="4634248" y="1680227"/>
                </a:cubicBezTo>
                <a:lnTo>
                  <a:pt x="4632434" y="1674607"/>
                </a:lnTo>
                <a:lnTo>
                  <a:pt x="4619204" y="1672507"/>
                </a:lnTo>
                <a:lnTo>
                  <a:pt x="4616283" y="1670977"/>
                </a:lnTo>
                <a:cubicBezTo>
                  <a:pt x="4610716" y="1668036"/>
                  <a:pt x="4605090" y="1665277"/>
                  <a:pt x="4598926" y="1663178"/>
                </a:cubicBezTo>
                <a:cubicBezTo>
                  <a:pt x="4588025" y="1686237"/>
                  <a:pt x="4544698" y="1649138"/>
                  <a:pt x="4547069" y="1670642"/>
                </a:cubicBezTo>
                <a:lnTo>
                  <a:pt x="4523516" y="1669785"/>
                </a:lnTo>
                <a:lnTo>
                  <a:pt x="4500586" y="1675912"/>
                </a:lnTo>
                <a:lnTo>
                  <a:pt x="4488196" y="1683463"/>
                </a:lnTo>
                <a:lnTo>
                  <a:pt x="4445463" y="1695634"/>
                </a:lnTo>
                <a:lnTo>
                  <a:pt x="4446550" y="1680538"/>
                </a:lnTo>
                <a:lnTo>
                  <a:pt x="4365375" y="1697935"/>
                </a:lnTo>
                <a:lnTo>
                  <a:pt x="4305123" y="1714185"/>
                </a:lnTo>
                <a:lnTo>
                  <a:pt x="4292665" y="1720703"/>
                </a:lnTo>
                <a:lnTo>
                  <a:pt x="4276789" y="1718367"/>
                </a:lnTo>
                <a:cubicBezTo>
                  <a:pt x="4274740" y="1717359"/>
                  <a:pt x="4273021" y="1716157"/>
                  <a:pt x="4271683" y="1714801"/>
                </a:cubicBezTo>
                <a:lnTo>
                  <a:pt x="4223918" y="1728936"/>
                </a:lnTo>
                <a:lnTo>
                  <a:pt x="4218039" y="1729885"/>
                </a:lnTo>
                <a:lnTo>
                  <a:pt x="4177153" y="1733691"/>
                </a:lnTo>
                <a:lnTo>
                  <a:pt x="4051032" y="1728886"/>
                </a:lnTo>
                <a:cubicBezTo>
                  <a:pt x="4055072" y="1717510"/>
                  <a:pt x="4022108" y="1735873"/>
                  <a:pt x="4013978" y="1727679"/>
                </a:cubicBezTo>
                <a:cubicBezTo>
                  <a:pt x="4008905" y="1720660"/>
                  <a:pt x="3997723" y="1724594"/>
                  <a:pt x="3987857" y="1724282"/>
                </a:cubicBezTo>
                <a:cubicBezTo>
                  <a:pt x="3978476" y="1718309"/>
                  <a:pt x="3931683" y="1723723"/>
                  <a:pt x="3916852" y="1729184"/>
                </a:cubicBezTo>
                <a:cubicBezTo>
                  <a:pt x="3876910" y="1749138"/>
                  <a:pt x="3829523" y="1727824"/>
                  <a:pt x="3797263" y="1742976"/>
                </a:cubicBezTo>
                <a:cubicBezTo>
                  <a:pt x="3769922" y="1744951"/>
                  <a:pt x="3760682" y="1742230"/>
                  <a:pt x="3752806" y="1741033"/>
                </a:cubicBezTo>
                <a:lnTo>
                  <a:pt x="3749997" y="1735799"/>
                </a:lnTo>
                <a:lnTo>
                  <a:pt x="3736582" y="1735907"/>
                </a:lnTo>
                <a:lnTo>
                  <a:pt x="3733428" y="1734881"/>
                </a:lnTo>
                <a:cubicBezTo>
                  <a:pt x="3727408" y="1732899"/>
                  <a:pt x="3721365" y="1731108"/>
                  <a:pt x="3714911" y="1730056"/>
                </a:cubicBezTo>
                <a:cubicBezTo>
                  <a:pt x="3708355" y="1754554"/>
                  <a:pt x="3658933" y="1725152"/>
                  <a:pt x="3665172" y="1745936"/>
                </a:cubicBezTo>
                <a:cubicBezTo>
                  <a:pt x="3628569" y="1744420"/>
                  <a:pt x="3583742" y="1775884"/>
                  <a:pt x="3552006" y="1755220"/>
                </a:cubicBezTo>
                <a:cubicBezTo>
                  <a:pt x="3497522" y="1758390"/>
                  <a:pt x="3448310" y="1757433"/>
                  <a:pt x="3390301" y="1762546"/>
                </a:cubicBezTo>
                <a:cubicBezTo>
                  <a:pt x="3345266" y="1774524"/>
                  <a:pt x="3297039" y="1758531"/>
                  <a:pt x="3264312" y="1774620"/>
                </a:cubicBezTo>
                <a:cubicBezTo>
                  <a:pt x="3212634" y="1771139"/>
                  <a:pt x="3147905" y="1780248"/>
                  <a:pt x="3106901" y="1804264"/>
                </a:cubicBezTo>
                <a:cubicBezTo>
                  <a:pt x="3051355" y="1805490"/>
                  <a:pt x="3041708" y="1820368"/>
                  <a:pt x="2993303" y="1806542"/>
                </a:cubicBezTo>
                <a:cubicBezTo>
                  <a:pt x="2989182" y="1810139"/>
                  <a:pt x="2984377" y="1813039"/>
                  <a:pt x="2979115" y="1815432"/>
                </a:cubicBezTo>
                <a:lnTo>
                  <a:pt x="2963118" y="1820962"/>
                </a:lnTo>
                <a:lnTo>
                  <a:pt x="2961156" y="1820297"/>
                </a:lnTo>
                <a:lnTo>
                  <a:pt x="2925719" y="1828468"/>
                </a:lnTo>
                <a:lnTo>
                  <a:pt x="2857951" y="1842496"/>
                </a:lnTo>
                <a:lnTo>
                  <a:pt x="2857427" y="1841591"/>
                </a:lnTo>
                <a:cubicBezTo>
                  <a:pt x="2855386" y="1839734"/>
                  <a:pt x="2852250" y="1838690"/>
                  <a:pt x="2846731" y="1839316"/>
                </a:cubicBezTo>
                <a:cubicBezTo>
                  <a:pt x="2855175" y="1823564"/>
                  <a:pt x="2843311" y="1834035"/>
                  <a:pt x="2826290" y="1837274"/>
                </a:cubicBezTo>
                <a:cubicBezTo>
                  <a:pt x="2835609" y="1813530"/>
                  <a:pt x="2787284" y="1831665"/>
                  <a:pt x="2779146" y="1820071"/>
                </a:cubicBezTo>
                <a:cubicBezTo>
                  <a:pt x="2766432" y="1822985"/>
                  <a:pt x="2753158" y="1825635"/>
                  <a:pt x="2739608" y="1827861"/>
                </a:cubicBezTo>
                <a:lnTo>
                  <a:pt x="2731631" y="1828881"/>
                </a:lnTo>
                <a:cubicBezTo>
                  <a:pt x="2731575" y="1828813"/>
                  <a:pt x="2731521" y="1828744"/>
                  <a:pt x="2731464" y="1828677"/>
                </a:cubicBezTo>
                <a:cubicBezTo>
                  <a:pt x="2729715" y="1828415"/>
                  <a:pt x="2727085" y="1828569"/>
                  <a:pt x="2723037" y="1829303"/>
                </a:cubicBezTo>
                <a:lnTo>
                  <a:pt x="2701616" y="1832725"/>
                </a:lnTo>
                <a:lnTo>
                  <a:pt x="2696239" y="1831904"/>
                </a:lnTo>
                <a:lnTo>
                  <a:pt x="2663445" y="1825958"/>
                </a:lnTo>
                <a:cubicBezTo>
                  <a:pt x="2641260" y="1825904"/>
                  <a:pt x="2595040" y="1827674"/>
                  <a:pt x="2560925" y="1829094"/>
                </a:cubicBezTo>
                <a:cubicBezTo>
                  <a:pt x="2527977" y="1836499"/>
                  <a:pt x="2496507" y="1831991"/>
                  <a:pt x="2458739" y="1834479"/>
                </a:cubicBezTo>
                <a:cubicBezTo>
                  <a:pt x="2419379" y="1848893"/>
                  <a:pt x="2396428" y="1834257"/>
                  <a:pt x="2356074" y="1836991"/>
                </a:cubicBezTo>
                <a:cubicBezTo>
                  <a:pt x="2323435" y="1857644"/>
                  <a:pt x="2325610" y="1826053"/>
                  <a:pt x="2304241" y="1822021"/>
                </a:cubicBezTo>
                <a:lnTo>
                  <a:pt x="2298362" y="1822125"/>
                </a:lnTo>
                <a:lnTo>
                  <a:pt x="2283527" y="1826361"/>
                </a:lnTo>
                <a:lnTo>
                  <a:pt x="2278150" y="1828604"/>
                </a:lnTo>
                <a:cubicBezTo>
                  <a:pt x="2274371" y="1829907"/>
                  <a:pt x="2271762" y="1830461"/>
                  <a:pt x="2269853" y="1830502"/>
                </a:cubicBezTo>
                <a:lnTo>
                  <a:pt x="2269585" y="1830341"/>
                </a:lnTo>
                <a:lnTo>
                  <a:pt x="2225332" y="1845825"/>
                </a:lnTo>
                <a:cubicBezTo>
                  <a:pt x="2211505" y="1836594"/>
                  <a:pt x="2170867" y="1860661"/>
                  <a:pt x="2169048" y="1837658"/>
                </a:cubicBezTo>
                <a:cubicBezTo>
                  <a:pt x="2153238" y="1843278"/>
                  <a:pt x="2146132" y="1854645"/>
                  <a:pt x="2147231" y="1839027"/>
                </a:cubicBezTo>
                <a:cubicBezTo>
                  <a:pt x="2141901" y="1840465"/>
                  <a:pt x="2138205" y="1840014"/>
                  <a:pt x="2135241" y="1838652"/>
                </a:cubicBezTo>
                <a:lnTo>
                  <a:pt x="2099215" y="1850768"/>
                </a:lnTo>
                <a:lnTo>
                  <a:pt x="2094046" y="1850806"/>
                </a:lnTo>
                <a:lnTo>
                  <a:pt x="2071850" y="1861319"/>
                </a:lnTo>
                <a:lnTo>
                  <a:pt x="2039607" y="1874318"/>
                </a:lnTo>
                <a:lnTo>
                  <a:pt x="2037289" y="1874025"/>
                </a:lnTo>
                <a:lnTo>
                  <a:pt x="2023615" y="1881562"/>
                </a:lnTo>
                <a:cubicBezTo>
                  <a:pt x="2019390" y="1884562"/>
                  <a:pt x="1959668" y="1894795"/>
                  <a:pt x="1957176" y="1898709"/>
                </a:cubicBezTo>
                <a:cubicBezTo>
                  <a:pt x="1901224" y="1893805"/>
                  <a:pt x="1914145" y="1913274"/>
                  <a:pt x="1858081" y="1923144"/>
                </a:cubicBezTo>
                <a:cubicBezTo>
                  <a:pt x="1819487" y="1923227"/>
                  <a:pt x="1798952" y="1929741"/>
                  <a:pt x="1738865" y="1944965"/>
                </a:cubicBezTo>
                <a:cubicBezTo>
                  <a:pt x="1698633" y="1955957"/>
                  <a:pt x="1670491" y="1978862"/>
                  <a:pt x="1616692" y="1989107"/>
                </a:cubicBezTo>
                <a:cubicBezTo>
                  <a:pt x="1565257" y="2022368"/>
                  <a:pt x="1474172" y="2022156"/>
                  <a:pt x="1411898" y="2046254"/>
                </a:cubicBezTo>
                <a:cubicBezTo>
                  <a:pt x="1380237" y="2035952"/>
                  <a:pt x="1386648" y="2042292"/>
                  <a:pt x="1375780" y="2047961"/>
                </a:cubicBezTo>
                <a:cubicBezTo>
                  <a:pt x="1375756" y="2047968"/>
                  <a:pt x="1375731" y="2047974"/>
                  <a:pt x="1375707" y="2047981"/>
                </a:cubicBezTo>
                <a:lnTo>
                  <a:pt x="1285585" y="2047113"/>
                </a:lnTo>
                <a:cubicBezTo>
                  <a:pt x="1279541" y="2043453"/>
                  <a:pt x="1272537" y="2040974"/>
                  <a:pt x="1263658" y="2041397"/>
                </a:cubicBezTo>
                <a:cubicBezTo>
                  <a:pt x="1212454" y="2058890"/>
                  <a:pt x="1258499" y="2026611"/>
                  <a:pt x="1170403" y="2033399"/>
                </a:cubicBezTo>
                <a:cubicBezTo>
                  <a:pt x="1166530" y="2036274"/>
                  <a:pt x="1154254" y="2033463"/>
                  <a:pt x="1153718" y="2029576"/>
                </a:cubicBezTo>
                <a:cubicBezTo>
                  <a:pt x="1148486" y="2030819"/>
                  <a:pt x="1137980" y="2038354"/>
                  <a:pt x="1133937" y="2032149"/>
                </a:cubicBezTo>
                <a:cubicBezTo>
                  <a:pt x="1104720" y="2031606"/>
                  <a:pt x="1077532" y="2035424"/>
                  <a:pt x="1054999" y="2043242"/>
                </a:cubicBezTo>
                <a:cubicBezTo>
                  <a:pt x="1024875" y="2038090"/>
                  <a:pt x="1020473" y="2042711"/>
                  <a:pt x="1018405" y="2048281"/>
                </a:cubicBezTo>
                <a:lnTo>
                  <a:pt x="1016563" y="2051718"/>
                </a:lnTo>
                <a:lnTo>
                  <a:pt x="1008284" y="2046742"/>
                </a:lnTo>
                <a:cubicBezTo>
                  <a:pt x="999244" y="2043620"/>
                  <a:pt x="990505" y="2044937"/>
                  <a:pt x="981974" y="2048363"/>
                </a:cubicBezTo>
                <a:lnTo>
                  <a:pt x="971903" y="2053484"/>
                </a:lnTo>
                <a:lnTo>
                  <a:pt x="954015" y="2052529"/>
                </a:lnTo>
                <a:cubicBezTo>
                  <a:pt x="931960" y="2051365"/>
                  <a:pt x="861352" y="2046214"/>
                  <a:pt x="839571" y="2046509"/>
                </a:cubicBezTo>
                <a:lnTo>
                  <a:pt x="823321" y="2054296"/>
                </a:lnTo>
                <a:lnTo>
                  <a:pt x="800990" y="2051523"/>
                </a:lnTo>
                <a:cubicBezTo>
                  <a:pt x="790723" y="2052171"/>
                  <a:pt x="782268" y="2055403"/>
                  <a:pt x="776439" y="2062634"/>
                </a:cubicBezTo>
                <a:cubicBezTo>
                  <a:pt x="773155" y="2056184"/>
                  <a:pt x="769593" y="2059253"/>
                  <a:pt x="763041" y="2063995"/>
                </a:cubicBezTo>
                <a:lnTo>
                  <a:pt x="757863" y="2065877"/>
                </a:lnTo>
                <a:lnTo>
                  <a:pt x="745053" y="2051831"/>
                </a:lnTo>
                <a:lnTo>
                  <a:pt x="722609" y="2049504"/>
                </a:lnTo>
                <a:lnTo>
                  <a:pt x="717618" y="2042131"/>
                </a:lnTo>
                <a:lnTo>
                  <a:pt x="703285" y="2046808"/>
                </a:lnTo>
                <a:cubicBezTo>
                  <a:pt x="698219" y="2048137"/>
                  <a:pt x="690058" y="2049926"/>
                  <a:pt x="680199" y="2051947"/>
                </a:cubicBezTo>
                <a:lnTo>
                  <a:pt x="667351" y="2054469"/>
                </a:lnTo>
                <a:lnTo>
                  <a:pt x="660961" y="2049404"/>
                </a:lnTo>
                <a:lnTo>
                  <a:pt x="638282" y="2060093"/>
                </a:lnTo>
                <a:lnTo>
                  <a:pt x="583551" y="2070197"/>
                </a:lnTo>
                <a:cubicBezTo>
                  <a:pt x="569268" y="2091365"/>
                  <a:pt x="529124" y="2053106"/>
                  <a:pt x="525274" y="2079137"/>
                </a:cubicBezTo>
                <a:cubicBezTo>
                  <a:pt x="506495" y="2056498"/>
                  <a:pt x="440091" y="2069666"/>
                  <a:pt x="405635" y="2059339"/>
                </a:cubicBezTo>
                <a:cubicBezTo>
                  <a:pt x="397410" y="2069278"/>
                  <a:pt x="294416" y="2032966"/>
                  <a:pt x="281555" y="2022847"/>
                </a:cubicBezTo>
                <a:cubicBezTo>
                  <a:pt x="171589" y="1986245"/>
                  <a:pt x="126791" y="1985528"/>
                  <a:pt x="98513" y="1969504"/>
                </a:cubicBezTo>
                <a:cubicBezTo>
                  <a:pt x="85544" y="1965247"/>
                  <a:pt x="73324" y="1958000"/>
                  <a:pt x="56191" y="1950709"/>
                </a:cubicBezTo>
                <a:lnTo>
                  <a:pt x="0" y="1935789"/>
                </a:lnTo>
                <a:close/>
              </a:path>
            </a:pathLst>
          </a:custGeom>
          <a:solidFill>
            <a:srgbClr val="82766A">
              <a:alpha val="1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ED86A5-C10F-E58D-FCE4-B3E4371958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137036" y="548640"/>
            <a:ext cx="9543405" cy="1188720"/>
          </a:xfrm>
        </p:spPr>
        <p:txBody>
          <a:bodyPr>
            <a:normAutofit/>
          </a:bodyPr>
          <a:lstStyle/>
          <a:p>
            <a:r>
              <a:rPr lang="en-US">
                <a:solidFill>
                  <a:schemeClr val="tx1">
                    <a:lumMod val="85000"/>
                    <a:lumOff val="15000"/>
                  </a:schemeClr>
                </a:solidFill>
              </a:rPr>
              <a:t>In summary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87498C3-5231-7939-A6A8-4CD975C5959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57987" y="2431765"/>
            <a:ext cx="8276026" cy="3320031"/>
          </a:xfrm>
        </p:spPr>
        <p:txBody>
          <a:bodyPr anchor="ctr">
            <a:normAutofit fontScale="92500" lnSpcReduction="20000"/>
          </a:bodyPr>
          <a:lstStyle/>
          <a:p>
            <a:endParaRPr lang="en-US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mRNA cancer vaccines are exciting – for many solid organ cancers!</a:t>
            </a:r>
          </a:p>
          <a:p>
            <a:endParaRPr lang="en-US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BNT-122 first-in-class for mRNA vaccine studies</a:t>
            </a:r>
          </a:p>
          <a:p>
            <a:endParaRPr lang="en-US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UK is a global leader</a:t>
            </a:r>
          </a:p>
          <a:p>
            <a:endParaRPr lang="en-US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dapting recruitment models to reflect standard of care brings huge benefits</a:t>
            </a:r>
          </a:p>
          <a:p>
            <a:endParaRPr lang="en-US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r>
              <a:rPr lang="en-US" sz="2000" dirty="0">
                <a:solidFill>
                  <a:schemeClr val="tx1">
                    <a:lumMod val="85000"/>
                    <a:lumOff val="15000"/>
                  </a:schemeClr>
                </a:solidFill>
              </a:rPr>
              <a:t>Adapting trial design to leverage embedded skillsets reaps benefits</a:t>
            </a:r>
          </a:p>
          <a:p>
            <a:endParaRPr lang="en-US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pPr marL="0" indent="0">
              <a:buNone/>
            </a:pPr>
            <a:endParaRPr lang="en-US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  <a:p>
            <a:endParaRPr lang="en-US" sz="20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142DCE2C-2863-46FA-9BE7-24365A24D9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2224586" y="5970896"/>
            <a:ext cx="9967416" cy="887104"/>
          </a:xfrm>
          <a:custGeom>
            <a:avLst/>
            <a:gdLst>
              <a:gd name="connsiteX0" fmla="*/ 4686423 w 9517857"/>
              <a:gd name="connsiteY0" fmla="*/ 247919 h 918356"/>
              <a:gd name="connsiteX1" fmla="*/ 4689051 w 9517857"/>
              <a:gd name="connsiteY1" fmla="*/ 250968 h 918356"/>
              <a:gd name="connsiteX2" fmla="*/ 4687244 w 9517857"/>
              <a:gd name="connsiteY2" fmla="*/ 251298 h 918356"/>
              <a:gd name="connsiteX3" fmla="*/ 4685225 w 9517857"/>
              <a:gd name="connsiteY3" fmla="*/ 246530 h 918356"/>
              <a:gd name="connsiteX4" fmla="*/ 4686133 w 9517857"/>
              <a:gd name="connsiteY4" fmla="*/ 246727 h 918356"/>
              <a:gd name="connsiteX5" fmla="*/ 4686423 w 9517857"/>
              <a:gd name="connsiteY5" fmla="*/ 247919 h 918356"/>
              <a:gd name="connsiteX6" fmla="*/ 9517856 w 9517857"/>
              <a:gd name="connsiteY6" fmla="*/ 0 h 918356"/>
              <a:gd name="connsiteX7" fmla="*/ 9517857 w 9517857"/>
              <a:gd name="connsiteY7" fmla="*/ 12 h 918356"/>
              <a:gd name="connsiteX8" fmla="*/ 9517857 w 9517857"/>
              <a:gd name="connsiteY8" fmla="*/ 918356 h 918356"/>
              <a:gd name="connsiteX9" fmla="*/ 14604 w 9517857"/>
              <a:gd name="connsiteY9" fmla="*/ 918356 h 918356"/>
              <a:gd name="connsiteX10" fmla="*/ 12841 w 9517857"/>
              <a:gd name="connsiteY10" fmla="*/ 917763 h 918356"/>
              <a:gd name="connsiteX11" fmla="*/ 93 w 9517857"/>
              <a:gd name="connsiteY11" fmla="*/ 912471 h 918356"/>
              <a:gd name="connsiteX12" fmla="*/ 58674 w 9517857"/>
              <a:gd name="connsiteY12" fmla="*/ 890322 h 918356"/>
              <a:gd name="connsiteX13" fmla="*/ 275005 w 9517857"/>
              <a:gd name="connsiteY13" fmla="*/ 807229 h 918356"/>
              <a:gd name="connsiteX14" fmla="*/ 587824 w 9517857"/>
              <a:gd name="connsiteY14" fmla="*/ 798195 h 918356"/>
              <a:gd name="connsiteX15" fmla="*/ 651826 w 9517857"/>
              <a:gd name="connsiteY15" fmla="*/ 738338 h 918356"/>
              <a:gd name="connsiteX16" fmla="*/ 727985 w 9517857"/>
              <a:gd name="connsiteY16" fmla="*/ 719826 h 918356"/>
              <a:gd name="connsiteX17" fmla="*/ 778982 w 9517857"/>
              <a:gd name="connsiteY17" fmla="*/ 710142 h 918356"/>
              <a:gd name="connsiteX18" fmla="*/ 849944 w 9517857"/>
              <a:gd name="connsiteY18" fmla="*/ 717987 h 918356"/>
              <a:gd name="connsiteX19" fmla="*/ 921659 w 9517857"/>
              <a:gd name="connsiteY19" fmla="*/ 712695 h 918356"/>
              <a:gd name="connsiteX20" fmla="*/ 930946 w 9517857"/>
              <a:gd name="connsiteY20" fmla="*/ 734046 h 918356"/>
              <a:gd name="connsiteX21" fmla="*/ 986250 w 9517857"/>
              <a:gd name="connsiteY21" fmla="*/ 713530 h 918356"/>
              <a:gd name="connsiteX22" fmla="*/ 1013752 w 9517857"/>
              <a:gd name="connsiteY22" fmla="*/ 713361 h 918356"/>
              <a:gd name="connsiteX23" fmla="*/ 1023734 w 9517857"/>
              <a:gd name="connsiteY23" fmla="*/ 718571 h 918356"/>
              <a:gd name="connsiteX24" fmla="*/ 1063207 w 9517857"/>
              <a:gd name="connsiteY24" fmla="*/ 715651 h 918356"/>
              <a:gd name="connsiteX25" fmla="*/ 1081980 w 9517857"/>
              <a:gd name="connsiteY25" fmla="*/ 738455 h 918356"/>
              <a:gd name="connsiteX26" fmla="*/ 1218120 w 9517857"/>
              <a:gd name="connsiteY26" fmla="*/ 713280 h 918356"/>
              <a:gd name="connsiteX27" fmla="*/ 1397459 w 9517857"/>
              <a:gd name="connsiteY27" fmla="*/ 691190 h 918356"/>
              <a:gd name="connsiteX28" fmla="*/ 1580688 w 9517857"/>
              <a:gd name="connsiteY28" fmla="*/ 693697 h 918356"/>
              <a:gd name="connsiteX29" fmla="*/ 1772334 w 9517857"/>
              <a:gd name="connsiteY29" fmla="*/ 710640 h 918356"/>
              <a:gd name="connsiteX30" fmla="*/ 2002561 w 9517857"/>
              <a:gd name="connsiteY30" fmla="*/ 659917 h 918356"/>
              <a:gd name="connsiteX31" fmla="*/ 2135144 w 9517857"/>
              <a:gd name="connsiteY31" fmla="*/ 636501 h 918356"/>
              <a:gd name="connsiteX32" fmla="*/ 2440292 w 9517857"/>
              <a:gd name="connsiteY32" fmla="*/ 593862 h 918356"/>
              <a:gd name="connsiteX33" fmla="*/ 2547829 w 9517857"/>
              <a:gd name="connsiteY33" fmla="*/ 566150 h 918356"/>
              <a:gd name="connsiteX34" fmla="*/ 2658055 w 9517857"/>
              <a:gd name="connsiteY34" fmla="*/ 578727 h 918356"/>
              <a:gd name="connsiteX35" fmla="*/ 2693698 w 9517857"/>
              <a:gd name="connsiteY35" fmla="*/ 560029 h 918356"/>
              <a:gd name="connsiteX36" fmla="*/ 2699673 w 9517857"/>
              <a:gd name="connsiteY36" fmla="*/ 556400 h 918356"/>
              <a:gd name="connsiteX37" fmla="*/ 2727306 w 9517857"/>
              <a:gd name="connsiteY37" fmla="*/ 550698 h 918356"/>
              <a:gd name="connsiteX38" fmla="*/ 2730451 w 9517857"/>
              <a:gd name="connsiteY38" fmla="*/ 538058 h 918356"/>
              <a:gd name="connsiteX39" fmla="*/ 2768713 w 9517857"/>
              <a:gd name="connsiteY39" fmla="*/ 521575 h 918356"/>
              <a:gd name="connsiteX40" fmla="*/ 2820868 w 9517857"/>
              <a:gd name="connsiteY40" fmla="*/ 514160 h 918356"/>
              <a:gd name="connsiteX41" fmla="*/ 3073635 w 9517857"/>
              <a:gd name="connsiteY41" fmla="*/ 491294 h 918356"/>
              <a:gd name="connsiteX42" fmla="*/ 3222071 w 9517857"/>
              <a:gd name="connsiteY42" fmla="*/ 470559 h 918356"/>
              <a:gd name="connsiteX43" fmla="*/ 3274069 w 9517857"/>
              <a:gd name="connsiteY43" fmla="*/ 451605 h 918356"/>
              <a:gd name="connsiteX44" fmla="*/ 3349632 w 9517857"/>
              <a:gd name="connsiteY44" fmla="*/ 432583 h 918356"/>
              <a:gd name="connsiteX45" fmla="*/ 3479593 w 9517857"/>
              <a:gd name="connsiteY45" fmla="*/ 390437 h 918356"/>
              <a:gd name="connsiteX46" fmla="*/ 3660110 w 9517857"/>
              <a:gd name="connsiteY46" fmla="*/ 348726 h 918356"/>
              <a:gd name="connsiteX47" fmla="*/ 3750023 w 9517857"/>
              <a:gd name="connsiteY47" fmla="*/ 370678 h 918356"/>
              <a:gd name="connsiteX48" fmla="*/ 3844133 w 9517857"/>
              <a:gd name="connsiteY48" fmla="*/ 360648 h 918356"/>
              <a:gd name="connsiteX49" fmla="*/ 3913545 w 9517857"/>
              <a:gd name="connsiteY49" fmla="*/ 344235 h 918356"/>
              <a:gd name="connsiteX50" fmla="*/ 4266740 w 9517857"/>
              <a:gd name="connsiteY50" fmla="*/ 361454 h 918356"/>
              <a:gd name="connsiteX51" fmla="*/ 4430770 w 9517857"/>
              <a:gd name="connsiteY51" fmla="*/ 342643 h 918356"/>
              <a:gd name="connsiteX52" fmla="*/ 4512664 w 9517857"/>
              <a:gd name="connsiteY52" fmla="*/ 319948 h 918356"/>
              <a:gd name="connsiteX53" fmla="*/ 4616423 w 9517857"/>
              <a:gd name="connsiteY53" fmla="*/ 290914 h 918356"/>
              <a:gd name="connsiteX54" fmla="*/ 4691675 w 9517857"/>
              <a:gd name="connsiteY54" fmla="*/ 254011 h 918356"/>
              <a:gd name="connsiteX55" fmla="*/ 4689051 w 9517857"/>
              <a:gd name="connsiteY55" fmla="*/ 250968 h 918356"/>
              <a:gd name="connsiteX56" fmla="*/ 4719994 w 9517857"/>
              <a:gd name="connsiteY56" fmla="*/ 245307 h 918356"/>
              <a:gd name="connsiteX57" fmla="*/ 4752894 w 9517857"/>
              <a:gd name="connsiteY57" fmla="*/ 239875 h 918356"/>
              <a:gd name="connsiteX58" fmla="*/ 4769329 w 9517857"/>
              <a:gd name="connsiteY58" fmla="*/ 233585 h 918356"/>
              <a:gd name="connsiteX59" fmla="*/ 4775634 w 9517857"/>
              <a:gd name="connsiteY59" fmla="*/ 234063 h 918356"/>
              <a:gd name="connsiteX60" fmla="*/ 4790452 w 9517857"/>
              <a:gd name="connsiteY60" fmla="*/ 233572 h 918356"/>
              <a:gd name="connsiteX61" fmla="*/ 4789062 w 9517857"/>
              <a:gd name="connsiteY61" fmla="*/ 241924 h 918356"/>
              <a:gd name="connsiteX62" fmla="*/ 4827826 w 9517857"/>
              <a:gd name="connsiteY62" fmla="*/ 246977 h 918356"/>
              <a:gd name="connsiteX63" fmla="*/ 4892569 w 9517857"/>
              <a:gd name="connsiteY63" fmla="*/ 249933 h 918356"/>
              <a:gd name="connsiteX64" fmla="*/ 4896611 w 9517857"/>
              <a:gd name="connsiteY64" fmla="*/ 240448 h 918356"/>
              <a:gd name="connsiteX65" fmla="*/ 4917286 w 9517857"/>
              <a:gd name="connsiteY65" fmla="*/ 243659 h 918356"/>
              <a:gd name="connsiteX66" fmla="*/ 4981173 w 9517857"/>
              <a:gd name="connsiteY66" fmla="*/ 247103 h 918356"/>
              <a:gd name="connsiteX67" fmla="*/ 5060397 w 9517857"/>
              <a:gd name="connsiteY67" fmla="*/ 263688 h 918356"/>
              <a:gd name="connsiteX68" fmla="*/ 5252996 w 9517857"/>
              <a:gd name="connsiteY68" fmla="*/ 270655 h 918356"/>
              <a:gd name="connsiteX69" fmla="*/ 5358056 w 9517857"/>
              <a:gd name="connsiteY69" fmla="*/ 247248 h 918356"/>
              <a:gd name="connsiteX70" fmla="*/ 5426496 w 9517857"/>
              <a:gd name="connsiteY70" fmla="*/ 235142 h 918356"/>
              <a:gd name="connsiteX71" fmla="*/ 5497161 w 9517857"/>
              <a:gd name="connsiteY71" fmla="*/ 228808 h 918356"/>
              <a:gd name="connsiteX72" fmla="*/ 5826043 w 9517857"/>
              <a:gd name="connsiteY72" fmla="*/ 148073 h 918356"/>
              <a:gd name="connsiteX73" fmla="*/ 6013415 w 9517857"/>
              <a:gd name="connsiteY73" fmla="*/ 137316 h 918356"/>
              <a:gd name="connsiteX74" fmla="*/ 6080994 w 9517857"/>
              <a:gd name="connsiteY74" fmla="*/ 142938 h 918356"/>
              <a:gd name="connsiteX75" fmla="*/ 6194152 w 9517857"/>
              <a:gd name="connsiteY75" fmla="*/ 151772 h 918356"/>
              <a:gd name="connsiteX76" fmla="*/ 6281379 w 9517857"/>
              <a:gd name="connsiteY76" fmla="*/ 181626 h 918356"/>
              <a:gd name="connsiteX77" fmla="*/ 6374947 w 9517857"/>
              <a:gd name="connsiteY77" fmla="*/ 179799 h 918356"/>
              <a:gd name="connsiteX78" fmla="*/ 6448518 w 9517857"/>
              <a:gd name="connsiteY78" fmla="*/ 164378 h 918356"/>
              <a:gd name="connsiteX79" fmla="*/ 6544700 w 9517857"/>
              <a:gd name="connsiteY79" fmla="*/ 167161 h 918356"/>
              <a:gd name="connsiteX80" fmla="*/ 6648353 w 9517857"/>
              <a:gd name="connsiteY80" fmla="*/ 172250 h 918356"/>
              <a:gd name="connsiteX81" fmla="*/ 6736227 w 9517857"/>
              <a:gd name="connsiteY81" fmla="*/ 173216 h 918356"/>
              <a:gd name="connsiteX82" fmla="*/ 6977218 w 9517857"/>
              <a:gd name="connsiteY82" fmla="*/ 184289 h 918356"/>
              <a:gd name="connsiteX83" fmla="*/ 7065221 w 9517857"/>
              <a:gd name="connsiteY83" fmla="*/ 227531 h 918356"/>
              <a:gd name="connsiteX84" fmla="*/ 7366876 w 9517857"/>
              <a:gd name="connsiteY84" fmla="*/ 248468 h 918356"/>
              <a:gd name="connsiteX85" fmla="*/ 7565449 w 9517857"/>
              <a:gd name="connsiteY85" fmla="*/ 258950 h 918356"/>
              <a:gd name="connsiteX86" fmla="*/ 7599285 w 9517857"/>
              <a:gd name="connsiteY86" fmla="*/ 266021 h 918356"/>
              <a:gd name="connsiteX87" fmla="*/ 7644411 w 9517857"/>
              <a:gd name="connsiteY87" fmla="*/ 258986 h 918356"/>
              <a:gd name="connsiteX88" fmla="*/ 7825110 w 9517857"/>
              <a:gd name="connsiteY88" fmla="*/ 229109 h 918356"/>
              <a:gd name="connsiteX89" fmla="*/ 7965804 w 9517857"/>
              <a:gd name="connsiteY89" fmla="*/ 190545 h 918356"/>
              <a:gd name="connsiteX90" fmla="*/ 8147401 w 9517857"/>
              <a:gd name="connsiteY90" fmla="*/ 205617 h 918356"/>
              <a:gd name="connsiteX91" fmla="*/ 8256033 w 9517857"/>
              <a:gd name="connsiteY91" fmla="*/ 193713 h 918356"/>
              <a:gd name="connsiteX92" fmla="*/ 8410677 w 9517857"/>
              <a:gd name="connsiteY92" fmla="*/ 172167 h 918356"/>
              <a:gd name="connsiteX93" fmla="*/ 8617841 w 9517857"/>
              <a:gd name="connsiteY93" fmla="*/ 155167 h 918356"/>
              <a:gd name="connsiteX94" fmla="*/ 8715976 w 9517857"/>
              <a:gd name="connsiteY94" fmla="*/ 178374 h 918356"/>
              <a:gd name="connsiteX95" fmla="*/ 8778827 w 9517857"/>
              <a:gd name="connsiteY95" fmla="*/ 172936 h 918356"/>
              <a:gd name="connsiteX96" fmla="*/ 8840778 w 9517857"/>
              <a:gd name="connsiteY96" fmla="*/ 143149 h 918356"/>
              <a:gd name="connsiteX97" fmla="*/ 9010380 w 9517857"/>
              <a:gd name="connsiteY97" fmla="*/ 91891 h 918356"/>
              <a:gd name="connsiteX98" fmla="*/ 9110856 w 9517857"/>
              <a:gd name="connsiteY98" fmla="*/ 70997 h 918356"/>
              <a:gd name="connsiteX99" fmla="*/ 9268817 w 9517857"/>
              <a:gd name="connsiteY99" fmla="*/ 53082 h 918356"/>
              <a:gd name="connsiteX100" fmla="*/ 9316667 w 9517857"/>
              <a:gd name="connsiteY100" fmla="*/ 45047 h 918356"/>
              <a:gd name="connsiteX101" fmla="*/ 9428209 w 9517857"/>
              <a:gd name="connsiteY101" fmla="*/ 29923 h 91835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</a:cxnLst>
            <a:rect l="l" t="t" r="r" b="b"/>
            <a:pathLst>
              <a:path w="9517857" h="918356">
                <a:moveTo>
                  <a:pt x="4686423" y="247919"/>
                </a:moveTo>
                <a:lnTo>
                  <a:pt x="4689051" y="250968"/>
                </a:lnTo>
                <a:lnTo>
                  <a:pt x="4687244" y="251298"/>
                </a:lnTo>
                <a:close/>
                <a:moveTo>
                  <a:pt x="4685225" y="246530"/>
                </a:moveTo>
                <a:cubicBezTo>
                  <a:pt x="4688837" y="243198"/>
                  <a:pt x="4687468" y="244598"/>
                  <a:pt x="4686133" y="246727"/>
                </a:cubicBezTo>
                <a:lnTo>
                  <a:pt x="4686423" y="247919"/>
                </a:lnTo>
                <a:close/>
                <a:moveTo>
                  <a:pt x="9517856" y="0"/>
                </a:moveTo>
                <a:lnTo>
                  <a:pt x="9517857" y="12"/>
                </a:lnTo>
                <a:lnTo>
                  <a:pt x="9517857" y="918356"/>
                </a:lnTo>
                <a:lnTo>
                  <a:pt x="14604" y="918356"/>
                </a:lnTo>
                <a:lnTo>
                  <a:pt x="12841" y="917763"/>
                </a:lnTo>
                <a:cubicBezTo>
                  <a:pt x="4532" y="914864"/>
                  <a:pt x="-773" y="912807"/>
                  <a:pt x="93" y="912471"/>
                </a:cubicBezTo>
                <a:cubicBezTo>
                  <a:pt x="172" y="912298"/>
                  <a:pt x="58594" y="890495"/>
                  <a:pt x="58674" y="890322"/>
                </a:cubicBezTo>
                <a:cubicBezTo>
                  <a:pt x="127436" y="929614"/>
                  <a:pt x="206243" y="828226"/>
                  <a:pt x="275005" y="807229"/>
                </a:cubicBezTo>
                <a:cubicBezTo>
                  <a:pt x="303983" y="806087"/>
                  <a:pt x="504960" y="777375"/>
                  <a:pt x="587824" y="798195"/>
                </a:cubicBezTo>
                <a:cubicBezTo>
                  <a:pt x="598733" y="769348"/>
                  <a:pt x="682904" y="785924"/>
                  <a:pt x="651826" y="738338"/>
                </a:cubicBezTo>
                <a:cubicBezTo>
                  <a:pt x="688440" y="737862"/>
                  <a:pt x="753255" y="750396"/>
                  <a:pt x="727985" y="719826"/>
                </a:cubicBezTo>
                <a:cubicBezTo>
                  <a:pt x="739648" y="718749"/>
                  <a:pt x="775717" y="715087"/>
                  <a:pt x="778982" y="710142"/>
                </a:cubicBezTo>
                <a:cubicBezTo>
                  <a:pt x="779189" y="709407"/>
                  <a:pt x="849736" y="718721"/>
                  <a:pt x="849944" y="717987"/>
                </a:cubicBezTo>
                <a:lnTo>
                  <a:pt x="921659" y="712695"/>
                </a:lnTo>
                <a:lnTo>
                  <a:pt x="930946" y="734046"/>
                </a:lnTo>
                <a:lnTo>
                  <a:pt x="986250" y="713530"/>
                </a:lnTo>
                <a:lnTo>
                  <a:pt x="1013752" y="713361"/>
                </a:lnTo>
                <a:lnTo>
                  <a:pt x="1023734" y="718571"/>
                </a:lnTo>
                <a:cubicBezTo>
                  <a:pt x="1033291" y="721276"/>
                  <a:pt x="1045398" y="721394"/>
                  <a:pt x="1063207" y="715651"/>
                </a:cubicBezTo>
                <a:lnTo>
                  <a:pt x="1081980" y="738455"/>
                </a:lnTo>
                <a:lnTo>
                  <a:pt x="1218120" y="713280"/>
                </a:lnTo>
                <a:cubicBezTo>
                  <a:pt x="1230137" y="716162"/>
                  <a:pt x="1387179" y="685179"/>
                  <a:pt x="1397459" y="691190"/>
                </a:cubicBezTo>
                <a:cubicBezTo>
                  <a:pt x="1490025" y="704984"/>
                  <a:pt x="1465878" y="715604"/>
                  <a:pt x="1580688" y="693697"/>
                </a:cubicBezTo>
                <a:cubicBezTo>
                  <a:pt x="1607067" y="704379"/>
                  <a:pt x="1719477" y="658239"/>
                  <a:pt x="1772334" y="710640"/>
                </a:cubicBezTo>
                <a:cubicBezTo>
                  <a:pt x="1745536" y="644824"/>
                  <a:pt x="1976078" y="716436"/>
                  <a:pt x="2002561" y="659917"/>
                </a:cubicBezTo>
                <a:cubicBezTo>
                  <a:pt x="2045346" y="660357"/>
                  <a:pt x="2166676" y="654391"/>
                  <a:pt x="2135144" y="636501"/>
                </a:cubicBezTo>
                <a:cubicBezTo>
                  <a:pt x="2276591" y="665055"/>
                  <a:pt x="2293173" y="591792"/>
                  <a:pt x="2440292" y="593862"/>
                </a:cubicBezTo>
                <a:cubicBezTo>
                  <a:pt x="2495160" y="534824"/>
                  <a:pt x="2473343" y="585644"/>
                  <a:pt x="2547829" y="566150"/>
                </a:cubicBezTo>
                <a:cubicBezTo>
                  <a:pt x="2545438" y="614169"/>
                  <a:pt x="2632278" y="528280"/>
                  <a:pt x="2658055" y="578727"/>
                </a:cubicBezTo>
                <a:cubicBezTo>
                  <a:pt x="2670795" y="573581"/>
                  <a:pt x="2682322" y="567005"/>
                  <a:pt x="2693698" y="560029"/>
                </a:cubicBezTo>
                <a:lnTo>
                  <a:pt x="2699673" y="556400"/>
                </a:lnTo>
                <a:lnTo>
                  <a:pt x="2727306" y="550698"/>
                </a:lnTo>
                <a:lnTo>
                  <a:pt x="2730451" y="538058"/>
                </a:lnTo>
                <a:lnTo>
                  <a:pt x="2768713" y="521575"/>
                </a:lnTo>
                <a:cubicBezTo>
                  <a:pt x="2783756" y="517104"/>
                  <a:pt x="2800788" y="514291"/>
                  <a:pt x="2820868" y="514160"/>
                </a:cubicBezTo>
                <a:cubicBezTo>
                  <a:pt x="2894791" y="532885"/>
                  <a:pt x="2981506" y="465507"/>
                  <a:pt x="3073635" y="491294"/>
                </a:cubicBezTo>
                <a:cubicBezTo>
                  <a:pt x="3106872" y="496624"/>
                  <a:pt x="3205785" y="487718"/>
                  <a:pt x="3222071" y="470559"/>
                </a:cubicBezTo>
                <a:cubicBezTo>
                  <a:pt x="3242193" y="465514"/>
                  <a:pt x="3267163" y="469136"/>
                  <a:pt x="3274069" y="451605"/>
                </a:cubicBezTo>
                <a:cubicBezTo>
                  <a:pt x="3286659" y="430165"/>
                  <a:pt x="3363648" y="455571"/>
                  <a:pt x="3349632" y="432583"/>
                </a:cubicBezTo>
                <a:cubicBezTo>
                  <a:pt x="3404182" y="449847"/>
                  <a:pt x="3438210" y="404323"/>
                  <a:pt x="3479593" y="390437"/>
                </a:cubicBezTo>
                <a:cubicBezTo>
                  <a:pt x="3523240" y="408403"/>
                  <a:pt x="3567027" y="361554"/>
                  <a:pt x="3660110" y="348726"/>
                </a:cubicBezTo>
                <a:cubicBezTo>
                  <a:pt x="3708299" y="369683"/>
                  <a:pt x="3662447" y="344775"/>
                  <a:pt x="3750023" y="370678"/>
                </a:cubicBezTo>
                <a:cubicBezTo>
                  <a:pt x="3752092" y="367132"/>
                  <a:pt x="3816880" y="365055"/>
                  <a:pt x="3844133" y="360648"/>
                </a:cubicBezTo>
                <a:cubicBezTo>
                  <a:pt x="3871386" y="356240"/>
                  <a:pt x="3882848" y="332490"/>
                  <a:pt x="3913545" y="344235"/>
                </a:cubicBezTo>
                <a:cubicBezTo>
                  <a:pt x="4050255" y="376864"/>
                  <a:pt x="4159924" y="363190"/>
                  <a:pt x="4266740" y="361454"/>
                </a:cubicBezTo>
                <a:cubicBezTo>
                  <a:pt x="4385770" y="354374"/>
                  <a:pt x="4314535" y="340143"/>
                  <a:pt x="4430770" y="342643"/>
                </a:cubicBezTo>
                <a:cubicBezTo>
                  <a:pt x="4439969" y="322594"/>
                  <a:pt x="4478290" y="314645"/>
                  <a:pt x="4512664" y="319948"/>
                </a:cubicBezTo>
                <a:cubicBezTo>
                  <a:pt x="4570011" y="315138"/>
                  <a:pt x="4549085" y="269599"/>
                  <a:pt x="4616423" y="290914"/>
                </a:cubicBezTo>
                <a:cubicBezTo>
                  <a:pt x="4599641" y="270277"/>
                  <a:pt x="4692085" y="269216"/>
                  <a:pt x="4691675" y="254011"/>
                </a:cubicBezTo>
                <a:lnTo>
                  <a:pt x="4689051" y="250968"/>
                </a:lnTo>
                <a:lnTo>
                  <a:pt x="4719994" y="245307"/>
                </a:lnTo>
                <a:cubicBezTo>
                  <a:pt x="4732635" y="242775"/>
                  <a:pt x="4745300" y="240335"/>
                  <a:pt x="4752894" y="239875"/>
                </a:cubicBezTo>
                <a:lnTo>
                  <a:pt x="4769329" y="233585"/>
                </a:lnTo>
                <a:lnTo>
                  <a:pt x="4775634" y="234063"/>
                </a:lnTo>
                <a:lnTo>
                  <a:pt x="4790452" y="233572"/>
                </a:lnTo>
                <a:cubicBezTo>
                  <a:pt x="4789989" y="236356"/>
                  <a:pt x="4789525" y="239141"/>
                  <a:pt x="4789062" y="241924"/>
                </a:cubicBezTo>
                <a:cubicBezTo>
                  <a:pt x="4786342" y="249932"/>
                  <a:pt x="4804560" y="248631"/>
                  <a:pt x="4827826" y="246977"/>
                </a:cubicBezTo>
                <a:cubicBezTo>
                  <a:pt x="4875782" y="239569"/>
                  <a:pt x="4874112" y="283413"/>
                  <a:pt x="4892569" y="249933"/>
                </a:cubicBezTo>
                <a:lnTo>
                  <a:pt x="4896611" y="240448"/>
                </a:lnTo>
                <a:lnTo>
                  <a:pt x="4917286" y="243659"/>
                </a:lnTo>
                <a:cubicBezTo>
                  <a:pt x="4923060" y="243799"/>
                  <a:pt x="4981729" y="240979"/>
                  <a:pt x="4981173" y="247103"/>
                </a:cubicBezTo>
                <a:cubicBezTo>
                  <a:pt x="5024880" y="220690"/>
                  <a:pt x="5014146" y="257963"/>
                  <a:pt x="5060397" y="263688"/>
                </a:cubicBezTo>
                <a:cubicBezTo>
                  <a:pt x="5093356" y="238589"/>
                  <a:pt x="5157892" y="275351"/>
                  <a:pt x="5252996" y="270655"/>
                </a:cubicBezTo>
                <a:cubicBezTo>
                  <a:pt x="5288840" y="241872"/>
                  <a:pt x="5287005" y="287921"/>
                  <a:pt x="5358056" y="247248"/>
                </a:cubicBezTo>
                <a:cubicBezTo>
                  <a:pt x="5361752" y="250257"/>
                  <a:pt x="5403312" y="238215"/>
                  <a:pt x="5426496" y="235142"/>
                </a:cubicBezTo>
                <a:cubicBezTo>
                  <a:pt x="5449679" y="232069"/>
                  <a:pt x="5473549" y="245611"/>
                  <a:pt x="5497161" y="228808"/>
                </a:cubicBezTo>
                <a:cubicBezTo>
                  <a:pt x="5611861" y="172767"/>
                  <a:pt x="5723211" y="165860"/>
                  <a:pt x="5826043" y="148073"/>
                </a:cubicBezTo>
                <a:cubicBezTo>
                  <a:pt x="5943127" y="133166"/>
                  <a:pt x="5872659" y="193078"/>
                  <a:pt x="6013415" y="137316"/>
                </a:cubicBezTo>
                <a:cubicBezTo>
                  <a:pt x="6031924" y="154783"/>
                  <a:pt x="6050745" y="154258"/>
                  <a:pt x="6080994" y="142938"/>
                </a:cubicBezTo>
                <a:cubicBezTo>
                  <a:pt x="6138083" y="137090"/>
                  <a:pt x="6140195" y="184383"/>
                  <a:pt x="6194152" y="151772"/>
                </a:cubicBezTo>
                <a:cubicBezTo>
                  <a:pt x="6187280" y="177783"/>
                  <a:pt x="6304222" y="153410"/>
                  <a:pt x="6281379" y="181626"/>
                </a:cubicBezTo>
                <a:cubicBezTo>
                  <a:pt x="6321899" y="201819"/>
                  <a:pt x="6335111" y="162590"/>
                  <a:pt x="6374947" y="179799"/>
                </a:cubicBezTo>
                <a:cubicBezTo>
                  <a:pt x="6417404" y="181336"/>
                  <a:pt x="6402484" y="169694"/>
                  <a:pt x="6448518" y="164378"/>
                </a:cubicBezTo>
                <a:cubicBezTo>
                  <a:pt x="6504958" y="162488"/>
                  <a:pt x="6493438" y="111203"/>
                  <a:pt x="6544700" y="167161"/>
                </a:cubicBezTo>
                <a:cubicBezTo>
                  <a:pt x="6601507" y="148697"/>
                  <a:pt x="6566269" y="164386"/>
                  <a:pt x="6648353" y="172250"/>
                </a:cubicBezTo>
                <a:cubicBezTo>
                  <a:pt x="6680008" y="155223"/>
                  <a:pt x="6707960" y="160673"/>
                  <a:pt x="6736227" y="173216"/>
                </a:cubicBezTo>
                <a:cubicBezTo>
                  <a:pt x="6813963" y="164284"/>
                  <a:pt x="6888143" y="181296"/>
                  <a:pt x="6977218" y="184289"/>
                </a:cubicBezTo>
                <a:cubicBezTo>
                  <a:pt x="7040424" y="188318"/>
                  <a:pt x="7000278" y="216835"/>
                  <a:pt x="7065221" y="227531"/>
                </a:cubicBezTo>
                <a:cubicBezTo>
                  <a:pt x="7130163" y="238228"/>
                  <a:pt x="7291878" y="238208"/>
                  <a:pt x="7366876" y="248468"/>
                </a:cubicBezTo>
                <a:cubicBezTo>
                  <a:pt x="7491356" y="206752"/>
                  <a:pt x="7367734" y="280166"/>
                  <a:pt x="7565449" y="258950"/>
                </a:cubicBezTo>
                <a:cubicBezTo>
                  <a:pt x="7575959" y="252432"/>
                  <a:pt x="7600854" y="257628"/>
                  <a:pt x="7599285" y="266021"/>
                </a:cubicBezTo>
                <a:cubicBezTo>
                  <a:pt x="7611616" y="262940"/>
                  <a:pt x="7639946" y="245819"/>
                  <a:pt x="7644411" y="258986"/>
                </a:cubicBezTo>
                <a:cubicBezTo>
                  <a:pt x="7708015" y="258012"/>
                  <a:pt x="7770249" y="247724"/>
                  <a:pt x="7825110" y="229109"/>
                </a:cubicBezTo>
                <a:cubicBezTo>
                  <a:pt x="7949762" y="247028"/>
                  <a:pt x="7921956" y="197757"/>
                  <a:pt x="7965804" y="190545"/>
                </a:cubicBezTo>
                <a:cubicBezTo>
                  <a:pt x="8039439" y="213878"/>
                  <a:pt x="8063651" y="191475"/>
                  <a:pt x="8147401" y="205617"/>
                </a:cubicBezTo>
                <a:cubicBezTo>
                  <a:pt x="8166453" y="196610"/>
                  <a:pt x="8225048" y="207099"/>
                  <a:pt x="8256033" y="193713"/>
                </a:cubicBezTo>
                <a:cubicBezTo>
                  <a:pt x="8311388" y="242017"/>
                  <a:pt x="8350376" y="178592"/>
                  <a:pt x="8410677" y="172167"/>
                </a:cubicBezTo>
                <a:cubicBezTo>
                  <a:pt x="8470978" y="165743"/>
                  <a:pt x="8572470" y="206385"/>
                  <a:pt x="8617841" y="155167"/>
                </a:cubicBezTo>
                <a:cubicBezTo>
                  <a:pt x="8646050" y="160448"/>
                  <a:pt x="8664949" y="183631"/>
                  <a:pt x="8715976" y="178374"/>
                </a:cubicBezTo>
                <a:cubicBezTo>
                  <a:pt x="8737194" y="188216"/>
                  <a:pt x="8738009" y="189511"/>
                  <a:pt x="8778827" y="172936"/>
                </a:cubicBezTo>
                <a:cubicBezTo>
                  <a:pt x="8725277" y="146372"/>
                  <a:pt x="8850819" y="175612"/>
                  <a:pt x="8840778" y="143149"/>
                </a:cubicBezTo>
                <a:cubicBezTo>
                  <a:pt x="8903519" y="121096"/>
                  <a:pt x="9021861" y="150359"/>
                  <a:pt x="9010380" y="91891"/>
                </a:cubicBezTo>
                <a:cubicBezTo>
                  <a:pt x="9027103" y="56852"/>
                  <a:pt x="9112524" y="108357"/>
                  <a:pt x="9110856" y="70997"/>
                </a:cubicBezTo>
                <a:cubicBezTo>
                  <a:pt x="9148189" y="94250"/>
                  <a:pt x="9209809" y="53285"/>
                  <a:pt x="9268817" y="53082"/>
                </a:cubicBezTo>
                <a:cubicBezTo>
                  <a:pt x="9279135" y="35997"/>
                  <a:pt x="9292736" y="36520"/>
                  <a:pt x="9316667" y="45047"/>
                </a:cubicBezTo>
                <a:cubicBezTo>
                  <a:pt x="9352186" y="45862"/>
                  <a:pt x="9390008" y="39799"/>
                  <a:pt x="9428209" y="29923"/>
                </a:cubicBezTo>
                <a:close/>
              </a:path>
            </a:pathLst>
          </a:custGeom>
          <a:solidFill>
            <a:srgbClr val="82766A">
              <a:alpha val="15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3649016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31EB7D5-5792-2948-8B7F-19F28361C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2022106"/>
            <a:ext cx="10515600" cy="1325563"/>
          </a:xfrm>
        </p:spPr>
        <p:txBody>
          <a:bodyPr/>
          <a:lstStyle/>
          <a:p>
            <a:pPr algn="ctr"/>
            <a:r>
              <a:rPr lang="en-US" dirty="0"/>
              <a:t>Thankyou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1D49D0C-18C4-814B-8A3A-A8D38722663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 algn="ctr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dirty="0"/>
              <a:t> </a:t>
            </a:r>
          </a:p>
          <a:p>
            <a:pPr marL="0" indent="0" algn="ctr">
              <a:buNone/>
            </a:pPr>
            <a:endParaRPr lang="en-US" dirty="0"/>
          </a:p>
          <a:p>
            <a:pPr marL="0" indent="0" algn="ctr">
              <a:buNone/>
            </a:pPr>
            <a:endParaRPr lang="en-US" dirty="0"/>
          </a:p>
          <a:p>
            <a:pPr marL="0" indent="0" algn="ctr">
              <a:buNone/>
            </a:pPr>
            <a:r>
              <a:rPr lang="en-US" dirty="0" err="1"/>
              <a:t>robjones@liv.ac.uk</a:t>
            </a:r>
            <a:endParaRPr lang="en-US" dirty="0"/>
          </a:p>
        </p:txBody>
      </p:sp>
      <p:pic>
        <p:nvPicPr>
          <p:cNvPr id="4" name="Picture 3" descr="C:\Users\Giles\AppData\Local\Microsoft\Windows\Temporary Internet Files\Low\Content.IE5\9L5E5Q7B\AUGISlogo[1].jpg">
            <a:extLst>
              <a:ext uri="{FF2B5EF4-FFF2-40B4-BE49-F238E27FC236}">
                <a16:creationId xmlns:a16="http://schemas.microsoft.com/office/drawing/2014/main" id="{AFF94208-6725-164B-817C-41996C3FB8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01267" y="5837282"/>
            <a:ext cx="3281827" cy="8206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4" descr="Funded_by">
            <a:extLst>
              <a:ext uri="{FF2B5EF4-FFF2-40B4-BE49-F238E27FC236}">
                <a16:creationId xmlns:a16="http://schemas.microsoft.com/office/drawing/2014/main" id="{36353AB2-8B17-F942-BB9E-32D01A9D3873}"/>
              </a:ext>
            </a:extLst>
          </p:cNvPr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766" t="22368" r="11702" b="21053"/>
          <a:stretch>
            <a:fillRect/>
          </a:stretch>
        </p:blipFill>
        <p:spPr bwMode="auto">
          <a:xfrm>
            <a:off x="10015539" y="5735637"/>
            <a:ext cx="2176462" cy="1059200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Picture 5" descr="A close up of a logo&#10;&#10;Description automatically generated">
            <a:extLst>
              <a:ext uri="{FF2B5EF4-FFF2-40B4-BE49-F238E27FC236}">
                <a16:creationId xmlns:a16="http://schemas.microsoft.com/office/drawing/2014/main" id="{F5DD5FEE-7F0B-E642-ABF9-6582242156A8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3975" y="5216157"/>
            <a:ext cx="2771772" cy="1841476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705955F8-5DD3-5C46-87A2-D22ABEB7E1B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263333" y="5562600"/>
            <a:ext cx="2857500" cy="12954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FFAC11D-DE74-CC4F-81DB-366CFBE749B0}"/>
              </a:ext>
            </a:extLst>
          </p:cNvPr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13544" y="107492"/>
            <a:ext cx="2350958" cy="905118"/>
          </a:xfrm>
          <a:prstGeom prst="rect">
            <a:avLst/>
          </a:prstGeom>
        </p:spPr>
      </p:pic>
      <p:pic>
        <p:nvPicPr>
          <p:cNvPr id="9" name="Picture 2" descr="NWCR | Home">
            <a:extLst>
              <a:ext uri="{FF2B5EF4-FFF2-40B4-BE49-F238E27FC236}">
                <a16:creationId xmlns:a16="http://schemas.microsoft.com/office/drawing/2014/main" id="{E0DB6A84-994D-174D-8FC0-57D86D0DEFD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822" y="33269"/>
            <a:ext cx="2686193" cy="9793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BioNTech">
            <a:extLst>
              <a:ext uri="{FF2B5EF4-FFF2-40B4-BE49-F238E27FC236}">
                <a16:creationId xmlns:a16="http://schemas.microsoft.com/office/drawing/2014/main" id="{8853B504-820A-6C51-6457-9076F284119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6292" y="2053008"/>
            <a:ext cx="2457843" cy="2457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5CD332E-91C0-D54F-2BD8-7C2A955C7626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318963" y="789498"/>
            <a:ext cx="5785633" cy="4339225"/>
          </a:xfrm>
          <a:prstGeom prst="rect">
            <a:avLst/>
          </a:prstGeom>
        </p:spPr>
      </p:pic>
      <p:pic>
        <p:nvPicPr>
          <p:cNvPr id="12" name="Picture 2" descr="Genentech">
            <a:extLst>
              <a:ext uri="{FF2B5EF4-FFF2-40B4-BE49-F238E27FC236}">
                <a16:creationId xmlns:a16="http://schemas.microsoft.com/office/drawing/2014/main" id="{9C145C3B-B01A-0A88-A940-474EFE6DA71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37041" y="2975024"/>
            <a:ext cx="2729542" cy="712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6296441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Fig. 2">
            <a:extLst>
              <a:ext uri="{FF2B5EF4-FFF2-40B4-BE49-F238E27FC236}">
                <a16:creationId xmlns:a16="http://schemas.microsoft.com/office/drawing/2014/main" id="{BF9BBBAC-442C-4822-02F3-D7892512ED9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93511" y="1319085"/>
            <a:ext cx="6197337" cy="52341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 3">
            <a:extLst>
              <a:ext uri="{FF2B5EF4-FFF2-40B4-BE49-F238E27FC236}">
                <a16:creationId xmlns:a16="http://schemas.microsoft.com/office/drawing/2014/main" id="{786CC40C-AC25-7149-A8AD-21E96A5223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19443"/>
            <a:ext cx="10756900" cy="1325563"/>
          </a:xfrm>
        </p:spPr>
        <p:txBody>
          <a:bodyPr vert="horz">
            <a:normAutofit/>
          </a:bodyPr>
          <a:lstStyle/>
          <a:p>
            <a:r>
              <a:rPr lang="en-US" sz="3600" dirty="0"/>
              <a:t>Innate Immune Stimulation and Neoantigen Presentation </a:t>
            </a:r>
          </a:p>
        </p:txBody>
      </p:sp>
    </p:spTree>
    <p:extLst>
      <p:ext uri="{BB962C8B-B14F-4D97-AF65-F5344CB8AC3E}">
        <p14:creationId xmlns:p14="http://schemas.microsoft.com/office/powerpoint/2010/main" val="2204206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E327E3CF-6011-8CE2-7B65-92695D05455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0529" t="30942" r="38222" b="33989"/>
          <a:stretch/>
        </p:blipFill>
        <p:spPr>
          <a:xfrm>
            <a:off x="1017474" y="2072565"/>
            <a:ext cx="9785043" cy="4184799"/>
          </a:xfrm>
          <a:prstGeom prst="rect">
            <a:avLst/>
          </a:prstGeom>
        </p:spPr>
      </p:pic>
      <p:pic>
        <p:nvPicPr>
          <p:cNvPr id="9" name="Picture 8" descr="A screenshot of a computer&#10;&#10;Description automatically generated">
            <a:extLst>
              <a:ext uri="{FF2B5EF4-FFF2-40B4-BE49-F238E27FC236}">
                <a16:creationId xmlns:a16="http://schemas.microsoft.com/office/drawing/2014/main" id="{22F43E4D-3D91-9D3E-9E99-86F8A156C600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9626" t="26633" r="4268" b="58128"/>
          <a:stretch/>
        </p:blipFill>
        <p:spPr>
          <a:xfrm>
            <a:off x="1802296" y="462013"/>
            <a:ext cx="7483306" cy="827772"/>
          </a:xfrm>
          <a:prstGeom prst="rect">
            <a:avLst/>
          </a:prstGeom>
        </p:spPr>
      </p:pic>
      <p:pic>
        <p:nvPicPr>
          <p:cNvPr id="11" name="Picture 10" descr="A screenshot of a computer&#10;&#10;Description automatically generated">
            <a:extLst>
              <a:ext uri="{FF2B5EF4-FFF2-40B4-BE49-F238E27FC236}">
                <a16:creationId xmlns:a16="http://schemas.microsoft.com/office/drawing/2014/main" id="{221E5599-AD3B-56E8-8581-E9957C292EEE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5686" t="29527" r="72549" b="67075"/>
          <a:stretch/>
        </p:blipFill>
        <p:spPr>
          <a:xfrm>
            <a:off x="8079574" y="462013"/>
            <a:ext cx="3019800" cy="545152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2687FF57-0C60-FD88-63A1-F1C32F74D0D3}"/>
              </a:ext>
            </a:extLst>
          </p:cNvPr>
          <p:cNvSpPr txBox="1"/>
          <p:nvPr/>
        </p:nvSpPr>
        <p:spPr>
          <a:xfrm>
            <a:off x="8136835" y="6414052"/>
            <a:ext cx="25311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ojas </a:t>
            </a:r>
            <a:r>
              <a:rPr lang="en-US" i="1" dirty="0"/>
              <a:t>et al, </a:t>
            </a:r>
            <a:r>
              <a:rPr lang="en-US" dirty="0"/>
              <a:t>Nature 2023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1552504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Down Arrow 7">
            <a:extLst>
              <a:ext uri="{FF2B5EF4-FFF2-40B4-BE49-F238E27FC236}">
                <a16:creationId xmlns:a16="http://schemas.microsoft.com/office/drawing/2014/main" id="{D4771268-CB57-404A-9271-370EB28F609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6200000">
            <a:off x="800100" y="1491343"/>
            <a:ext cx="3333749" cy="3499103"/>
          </a:xfrm>
          <a:prstGeom prst="downArrow">
            <a:avLst>
              <a:gd name="adj1" fmla="val 100000"/>
              <a:gd name="adj2" fmla="val 15788"/>
            </a:avLst>
          </a:prstGeom>
          <a:solidFill>
            <a:srgbClr val="404040"/>
          </a:solidFill>
          <a:ln w="539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7B6F25A8-BE56-5805-FB11-36D4FE2E8E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28700" y="1967266"/>
            <a:ext cx="2628900" cy="2547257"/>
          </a:xfrm>
          <a:noFill/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33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Vaccines trigger an immune response  in half</a:t>
            </a:r>
          </a:p>
        </p:txBody>
      </p:sp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8BE124F8-A1DB-2308-1AD0-48EAC1DC44C4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31202" t="58653" r="41006" b="17340"/>
          <a:stretch/>
        </p:blipFill>
        <p:spPr>
          <a:xfrm>
            <a:off x="4777316" y="1597448"/>
            <a:ext cx="6780700" cy="366077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A4A1FAA3-A004-4B48-0A81-B3CB2DD3403B}"/>
              </a:ext>
            </a:extLst>
          </p:cNvPr>
          <p:cNvSpPr txBox="1"/>
          <p:nvPr/>
        </p:nvSpPr>
        <p:spPr>
          <a:xfrm>
            <a:off x="8136835" y="6414052"/>
            <a:ext cx="25311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ojas </a:t>
            </a:r>
            <a:r>
              <a:rPr lang="en-US" i="1" dirty="0"/>
              <a:t>et al, </a:t>
            </a:r>
            <a:r>
              <a:rPr lang="en-US" dirty="0"/>
              <a:t>Nature 2023</a:t>
            </a:r>
            <a:endParaRPr lang="en-US" i="1" dirty="0"/>
          </a:p>
        </p:txBody>
      </p:sp>
    </p:spTree>
    <p:extLst>
      <p:ext uri="{BB962C8B-B14F-4D97-AF65-F5344CB8AC3E}">
        <p14:creationId xmlns:p14="http://schemas.microsoft.com/office/powerpoint/2010/main" val="415987328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Rectangle 16">
            <a:extLst>
              <a:ext uri="{FF2B5EF4-FFF2-40B4-BE49-F238E27FC236}">
                <a16:creationId xmlns:a16="http://schemas.microsoft.com/office/drawing/2014/main" id="{6753252F-4873-4F63-801D-CC719279A7D5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Content Placeholder 6" descr="A screenshot of a computer&#10;&#10;Description automatically generated">
            <a:extLst>
              <a:ext uri="{FF2B5EF4-FFF2-40B4-BE49-F238E27FC236}">
                <a16:creationId xmlns:a16="http://schemas.microsoft.com/office/drawing/2014/main" id="{2CF959D8-BF91-B991-CBB1-1AF85D91116B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 rotWithShape="1">
          <a:blip r:embed="rId2"/>
          <a:srcRect l="9548" t="21006" r="49702" b="14885"/>
          <a:stretch/>
        </p:blipFill>
        <p:spPr>
          <a:xfrm>
            <a:off x="3335481" y="76882"/>
            <a:ext cx="6974712" cy="6858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047C8CCB-F95D-4249-92DD-651249D3535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2013557" cy="6858000"/>
          </a:xfrm>
          <a:prstGeom prst="rect">
            <a:avLst/>
          </a:prstGeom>
          <a:solidFill>
            <a:srgbClr val="63563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86FA87BF-F800-8863-DF9C-B33BDC43F4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0080" y="2074363"/>
            <a:ext cx="2752354" cy="2709275"/>
          </a:xfrm>
          <a:prstGeom prst="ellipse">
            <a:avLst/>
          </a:prstGeom>
          <a:solidFill>
            <a:srgbClr val="262626"/>
          </a:solidFill>
          <a:ln w="174625" cmpd="thinThick">
            <a:solidFill>
              <a:srgbClr val="262626"/>
            </a:solidFill>
          </a:ln>
        </p:spPr>
        <p:txBody>
          <a:bodyPr vert="horz" lIns="91440" tIns="45720" rIns="91440" bIns="45720" rtlCol="0" anchor="ctr">
            <a:normAutofit/>
          </a:bodyPr>
          <a:lstStyle/>
          <a:p>
            <a:pPr algn="ctr"/>
            <a:r>
              <a:rPr lang="en-US" sz="2600" kern="1200" dirty="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Impact of vaccine on </a:t>
            </a:r>
            <a:r>
              <a:rPr lang="en-US" sz="2600" dirty="0">
                <a:solidFill>
                  <a:srgbClr val="FFFFFF"/>
                </a:solidFill>
              </a:rPr>
              <a:t>survival</a:t>
            </a:r>
            <a:endParaRPr lang="en-US" sz="2600" kern="1200" dirty="0">
              <a:solidFill>
                <a:srgbClr val="FFFFFF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67FF7D7-D50D-AAC4-F1BC-ADA99D694D80}"/>
              </a:ext>
            </a:extLst>
          </p:cNvPr>
          <p:cNvSpPr txBox="1"/>
          <p:nvPr/>
        </p:nvSpPr>
        <p:spPr>
          <a:xfrm>
            <a:off x="9700593" y="6533320"/>
            <a:ext cx="2531166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500" dirty="0"/>
              <a:t>Rojas </a:t>
            </a:r>
            <a:r>
              <a:rPr lang="en-US" sz="1500" i="1" dirty="0"/>
              <a:t>et al, </a:t>
            </a:r>
            <a:r>
              <a:rPr lang="en-US" sz="1500" dirty="0"/>
              <a:t>Nature 2023</a:t>
            </a:r>
            <a:endParaRPr lang="en-US" sz="1500" i="1" dirty="0"/>
          </a:p>
        </p:txBody>
      </p:sp>
    </p:spTree>
    <p:extLst>
      <p:ext uri="{BB962C8B-B14F-4D97-AF65-F5344CB8AC3E}">
        <p14:creationId xmlns:p14="http://schemas.microsoft.com/office/powerpoint/2010/main" val="42580510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5" name="Rectangle 14">
            <a:extLst>
              <a:ext uri="{FF2B5EF4-FFF2-40B4-BE49-F238E27FC236}">
                <a16:creationId xmlns:a16="http://schemas.microsoft.com/office/drawing/2014/main" id="{A8384FB5-9ADC-4DDC-881B-597D56F5B15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 w="12700" cap="flat" cmpd="sng" algn="ctr">
            <a:noFill/>
            <a:prstDash val="solid"/>
            <a:miter lim="800000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1199E1B1-A8C0-4FE8-A5A8-1CB41D69F857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rot="10800000" flipH="1">
            <a:off x="2" y="0"/>
            <a:ext cx="12191998" cy="1575955"/>
          </a:xfrm>
          <a:prstGeom prst="rect">
            <a:avLst/>
          </a:prstGeom>
          <a:gradFill>
            <a:gsLst>
              <a:gs pos="0">
                <a:srgbClr val="000000">
                  <a:alpha val="96000"/>
                </a:srgbClr>
              </a:gs>
              <a:gs pos="100000">
                <a:schemeClr val="accent1">
                  <a:lumMod val="75000"/>
                </a:schemeClr>
              </a:gs>
            </a:gsLst>
            <a:lin ang="60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4A8DE83-DE75-4B41-9DB4-A7EC0B0DEC0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8128856" cy="1575461"/>
          </a:xfrm>
          <a:prstGeom prst="rect">
            <a:avLst/>
          </a:prstGeom>
          <a:gradFill>
            <a:gsLst>
              <a:gs pos="0">
                <a:schemeClr val="accent1">
                  <a:alpha val="41000"/>
                </a:schemeClr>
              </a:gs>
              <a:gs pos="74000">
                <a:schemeClr val="accent1">
                  <a:lumMod val="60000"/>
                  <a:lumOff val="40000"/>
                  <a:alpha val="0"/>
                </a:schemeClr>
              </a:gs>
            </a:gsLst>
            <a:lin ang="8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A7009A0A-BEF5-4EAC-AF15-E4F9F002E239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 flipH="1">
            <a:off x="-3" y="-1"/>
            <a:ext cx="12192002" cy="1574311"/>
          </a:xfrm>
          <a:prstGeom prst="rect">
            <a:avLst/>
          </a:prstGeom>
          <a:gradFill>
            <a:gsLst>
              <a:gs pos="0">
                <a:srgbClr val="000000">
                  <a:alpha val="63000"/>
                </a:srgbClr>
              </a:gs>
              <a:gs pos="78000">
                <a:schemeClr val="accent1">
                  <a:alpha val="15000"/>
                </a:schemeClr>
              </a:gs>
            </a:gsLst>
            <a:lin ang="15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B62C942-7E0F-CC12-3447-E64A1065B1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9713" y="248038"/>
            <a:ext cx="7063721" cy="1159200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z="3700" kern="1200">
                <a:solidFill>
                  <a:srgbClr val="FFFFFF"/>
                </a:solidFill>
                <a:latin typeface="+mj-lt"/>
                <a:ea typeface="+mj-ea"/>
                <a:cs typeface="+mj-cs"/>
              </a:rPr>
              <a:t>Vaccine clones &amp; micrometastas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F75F7FB-5A1A-C9DC-013A-5785AA71E9DA}"/>
              </a:ext>
            </a:extLst>
          </p:cNvPr>
          <p:cNvSpPr txBox="1"/>
          <p:nvPr/>
        </p:nvSpPr>
        <p:spPr>
          <a:xfrm>
            <a:off x="9190382" y="6351848"/>
            <a:ext cx="253116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Rojas </a:t>
            </a:r>
            <a:r>
              <a:rPr lang="en-US" i="1" dirty="0"/>
              <a:t>et al, </a:t>
            </a:r>
            <a:r>
              <a:rPr lang="en-US" dirty="0"/>
              <a:t>Nature 2023</a:t>
            </a:r>
            <a:endParaRPr lang="en-US" i="1" dirty="0"/>
          </a:p>
        </p:txBody>
      </p:sp>
      <p:pic>
        <p:nvPicPr>
          <p:cNvPr id="7" name="Picture 6" descr="A screenshot of a computer&#10;&#10;Description automatically generated">
            <a:extLst>
              <a:ext uri="{FF2B5EF4-FFF2-40B4-BE49-F238E27FC236}">
                <a16:creationId xmlns:a16="http://schemas.microsoft.com/office/drawing/2014/main" id="{D101DCCE-4B68-478B-1BC7-2396262CA10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460" t="21148" r="20882" b="54903"/>
          <a:stretch/>
        </p:blipFill>
        <p:spPr>
          <a:xfrm>
            <a:off x="0" y="2067339"/>
            <a:ext cx="12203982" cy="3114260"/>
          </a:xfrm>
          <a:prstGeom prst="rect">
            <a:avLst/>
          </a:prstGeom>
        </p:spPr>
      </p:pic>
      <p:pic>
        <p:nvPicPr>
          <p:cNvPr id="5" name="Picture 4" descr="A screenshot of a computer&#10;&#10;Description automatically generated">
            <a:extLst>
              <a:ext uri="{FF2B5EF4-FFF2-40B4-BE49-F238E27FC236}">
                <a16:creationId xmlns:a16="http://schemas.microsoft.com/office/drawing/2014/main" id="{347AD43C-D165-345D-072E-530AA5C7B822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0460" t="45394" r="16966" b="12430"/>
          <a:stretch/>
        </p:blipFill>
        <p:spPr>
          <a:xfrm>
            <a:off x="795362" y="1875356"/>
            <a:ext cx="10601272" cy="4465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349146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11" name="Rectangle 10">
            <a:extLst>
              <a:ext uri="{FF2B5EF4-FFF2-40B4-BE49-F238E27FC236}">
                <a16:creationId xmlns:a16="http://schemas.microsoft.com/office/drawing/2014/main" id="{7BDAC5B6-20CE-447F-8BA1-F2274AC7AE5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D1D22B31-BF8F-446B-9009-8A251FB177C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 noRot="1" noChangeAspect="1" noMove="1" noResize="1" noEditPoints="1" noAdjustHandles="1" noChangeArrowheads="1" noChangeShapeType="1" noTextEdit="1"/>
          </p:cNvSpPr>
          <p:nvPr>
            <p:extLst>
              <p:ext uri="{386F3935-93C4-4BCD-93E2-E3B085C9AB24}">
                <p16:designElem xmlns:p16="http://schemas.microsoft.com/office/powerpoint/2015/main" val="1"/>
              </p:ext>
            </p:extLst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094406 w 12192000"/>
              <a:gd name="connsiteY0" fmla="*/ 283966 h 6858000"/>
              <a:gd name="connsiteX1" fmla="*/ 3038833 w 12192000"/>
              <a:gd name="connsiteY1" fmla="*/ 309661 h 6858000"/>
              <a:gd name="connsiteX2" fmla="*/ 3348384 w 12192000"/>
              <a:gd name="connsiteY2" fmla="*/ 406000 h 6858000"/>
              <a:gd name="connsiteX3" fmla="*/ 2864309 w 12192000"/>
              <a:gd name="connsiteY3" fmla="*/ 355295 h 6858000"/>
              <a:gd name="connsiteX4" fmla="*/ 2856039 w 12192000"/>
              <a:gd name="connsiteY4" fmla="*/ 388058 h 6858000"/>
              <a:gd name="connsiteX5" fmla="*/ 3405794 w 12192000"/>
              <a:gd name="connsiteY5" fmla="*/ 512089 h 6858000"/>
              <a:gd name="connsiteX6" fmla="*/ 3356651 w 12192000"/>
              <a:gd name="connsiteY6" fmla="*/ 531204 h 6858000"/>
              <a:gd name="connsiteX7" fmla="*/ 3064552 w 12192000"/>
              <a:gd name="connsiteY7" fmla="*/ 483228 h 6858000"/>
              <a:gd name="connsiteX8" fmla="*/ 3005765 w 12192000"/>
              <a:gd name="connsiteY8" fmla="*/ 495708 h 6858000"/>
              <a:gd name="connsiteX9" fmla="*/ 3034700 w 12192000"/>
              <a:gd name="connsiteY9" fmla="*/ 553823 h 6858000"/>
              <a:gd name="connsiteX10" fmla="*/ 3161459 w 12192000"/>
              <a:gd name="connsiteY10" fmla="*/ 576445 h 6858000"/>
              <a:gd name="connsiteX11" fmla="*/ 3358949 w 12192000"/>
              <a:gd name="connsiteY11" fmla="*/ 712961 h 6858000"/>
              <a:gd name="connsiteX12" fmla="*/ 3059960 w 12192000"/>
              <a:gd name="connsiteY12" fmla="*/ 696576 h 6858000"/>
              <a:gd name="connsiteX13" fmla="*/ 3007143 w 12192000"/>
              <a:gd name="connsiteY13" fmla="*/ 729732 h 6858000"/>
              <a:gd name="connsiteX14" fmla="*/ 2986935 w 12192000"/>
              <a:gd name="connsiteY14" fmla="*/ 772635 h 6858000"/>
              <a:gd name="connsiteX15" fmla="*/ 2871197 w 12192000"/>
              <a:gd name="connsiteY15" fmla="*/ 808127 h 6858000"/>
              <a:gd name="connsiteX16" fmla="*/ 3053071 w 12192000"/>
              <a:gd name="connsiteY16" fmla="*/ 847913 h 6858000"/>
              <a:gd name="connsiteX17" fmla="*/ 2858796 w 12192000"/>
              <a:gd name="connsiteY17" fmla="*/ 847913 h 6858000"/>
              <a:gd name="connsiteX18" fmla="*/ 2635588 w 12192000"/>
              <a:gd name="connsiteY18" fmla="*/ 820611 h 6858000"/>
              <a:gd name="connsiteX19" fmla="*/ 2397683 w 12192000"/>
              <a:gd name="connsiteY19" fmla="*/ 829190 h 6858000"/>
              <a:gd name="connsiteX20" fmla="*/ 1921874 w 12192000"/>
              <a:gd name="connsiteY20" fmla="*/ 778877 h 6858000"/>
              <a:gd name="connsiteX21" fmla="*/ 1695450 w 12192000"/>
              <a:gd name="connsiteY21" fmla="*/ 782386 h 6858000"/>
              <a:gd name="connsiteX22" fmla="*/ 2954324 w 12192000"/>
              <a:gd name="connsiteY22" fmla="*/ 1120940 h 6858000"/>
              <a:gd name="connsiteX23" fmla="*/ 2890028 w 12192000"/>
              <a:gd name="connsiteY23" fmla="*/ 1195435 h 6858000"/>
              <a:gd name="connsiteX24" fmla="*/ 3153652 w 12192000"/>
              <a:gd name="connsiteY24" fmla="*/ 1276563 h 6858000"/>
              <a:gd name="connsiteX25" fmla="*/ 3218410 w 12192000"/>
              <a:gd name="connsiteY25" fmla="*/ 1356911 h 6858000"/>
              <a:gd name="connsiteX26" fmla="*/ 3137118 w 12192000"/>
              <a:gd name="connsiteY26" fmla="*/ 1349891 h 6858000"/>
              <a:gd name="connsiteX27" fmla="*/ 3067309 w 12192000"/>
              <a:gd name="connsiteY27" fmla="*/ 1365102 h 6858000"/>
              <a:gd name="connsiteX28" fmla="*/ 3096243 w 12192000"/>
              <a:gd name="connsiteY28" fmla="*/ 1467292 h 6858000"/>
              <a:gd name="connsiteX29" fmla="*/ 3468716 w 12192000"/>
              <a:gd name="connsiteY29" fmla="*/ 1599125 h 6858000"/>
              <a:gd name="connsiteX30" fmla="*/ 3502241 w 12192000"/>
              <a:gd name="connsiteY30" fmla="*/ 1642029 h 6858000"/>
              <a:gd name="connsiteX31" fmla="*/ 3457692 w 12192000"/>
              <a:gd name="connsiteY31" fmla="*/ 1672453 h 6858000"/>
              <a:gd name="connsiteX32" fmla="*/ 3337362 w 12192000"/>
              <a:gd name="connsiteY32" fmla="*/ 1688053 h 6858000"/>
              <a:gd name="connsiteX33" fmla="*/ 3505915 w 12192000"/>
              <a:gd name="connsiteY33" fmla="*/ 1834318 h 6858000"/>
              <a:gd name="connsiteX34" fmla="*/ 3567458 w 12192000"/>
              <a:gd name="connsiteY34" fmla="*/ 1874880 h 6858000"/>
              <a:gd name="connsiteX35" fmla="*/ 3672634 w 12192000"/>
              <a:gd name="connsiteY35" fmla="*/ 1937678 h 6858000"/>
              <a:gd name="connsiteX36" fmla="*/ 3674470 w 12192000"/>
              <a:gd name="connsiteY36" fmla="*/ 1956789 h 6858000"/>
              <a:gd name="connsiteX37" fmla="*/ 3531176 w 12192000"/>
              <a:gd name="connsiteY37" fmla="*/ 2024266 h 6858000"/>
              <a:gd name="connsiteX38" fmla="*/ 3272604 w 12192000"/>
              <a:gd name="connsiteY38" fmla="*/ 2005933 h 6858000"/>
              <a:gd name="connsiteX39" fmla="*/ 3654720 w 12192000"/>
              <a:gd name="connsiteY39" fmla="*/ 2106564 h 6858000"/>
              <a:gd name="connsiteX40" fmla="*/ 2417892 w 12192000"/>
              <a:gd name="connsiteY40" fmla="*/ 1866690 h 6858000"/>
              <a:gd name="connsiteX41" fmla="*/ 2496888 w 12192000"/>
              <a:gd name="connsiteY41" fmla="*/ 1929487 h 6858000"/>
              <a:gd name="connsiteX42" fmla="*/ 2929526 w 12192000"/>
              <a:gd name="connsiteY42" fmla="*/ 2094862 h 6858000"/>
              <a:gd name="connsiteX43" fmla="*/ 3052152 w 12192000"/>
              <a:gd name="connsiteY43" fmla="*/ 2198613 h 6858000"/>
              <a:gd name="connsiteX44" fmla="*/ 3180748 w 12192000"/>
              <a:gd name="connsiteY44" fmla="*/ 2255948 h 6858000"/>
              <a:gd name="connsiteX45" fmla="*/ 3361244 w 12192000"/>
              <a:gd name="connsiteY45" fmla="*/ 2254777 h 6858000"/>
              <a:gd name="connsiteX46" fmla="*/ 3489382 w 12192000"/>
              <a:gd name="connsiteY46" fmla="*/ 2342926 h 6858000"/>
              <a:gd name="connsiteX47" fmla="*/ 3355733 w 12192000"/>
              <a:gd name="connsiteY47" fmla="*/ 2361649 h 6858000"/>
              <a:gd name="connsiteX48" fmla="*/ 3199121 w 12192000"/>
              <a:gd name="connsiteY48" fmla="*/ 2347216 h 6858000"/>
              <a:gd name="connsiteX49" fmla="*/ 2861091 w 12192000"/>
              <a:gd name="connsiteY49" fmla="*/ 2351896 h 6858000"/>
              <a:gd name="connsiteX50" fmla="*/ 2667278 w 12192000"/>
              <a:gd name="connsiteY50" fmla="*/ 2369058 h 6858000"/>
              <a:gd name="connsiteX51" fmla="*/ 2221781 w 12192000"/>
              <a:gd name="connsiteY51" fmla="*/ 2339805 h 6858000"/>
              <a:gd name="connsiteX52" fmla="*/ 2247961 w 12192000"/>
              <a:gd name="connsiteY52" fmla="*/ 2414693 h 6858000"/>
              <a:gd name="connsiteX53" fmla="*/ 2231425 w 12192000"/>
              <a:gd name="connsiteY53" fmla="*/ 2479828 h 6858000"/>
              <a:gd name="connsiteX54" fmla="*/ 2224996 w 12192000"/>
              <a:gd name="connsiteY54" fmla="*/ 2621414 h 6858000"/>
              <a:gd name="connsiteX55" fmla="*/ 2229131 w 12192000"/>
              <a:gd name="connsiteY55" fmla="*/ 2644426 h 6858000"/>
              <a:gd name="connsiteX56" fmla="*/ 2129466 w 12192000"/>
              <a:gd name="connsiteY56" fmla="*/ 2659247 h 6858000"/>
              <a:gd name="connsiteX57" fmla="*/ 2723312 w 12192000"/>
              <a:gd name="connsiteY57" fmla="*/ 2953726 h 6858000"/>
              <a:gd name="connsiteX58" fmla="*/ 2326496 w 12192000"/>
              <a:gd name="connsiteY58" fmla="*/ 2878838 h 6858000"/>
              <a:gd name="connsiteX59" fmla="*/ 2272759 w 12192000"/>
              <a:gd name="connsiteY59" fmla="*/ 3002480 h 6858000"/>
              <a:gd name="connsiteX60" fmla="*/ 2459226 w 12192000"/>
              <a:gd name="connsiteY60" fmla="*/ 3112471 h 6858000"/>
              <a:gd name="connsiteX61" fmla="*/ 2528117 w 12192000"/>
              <a:gd name="connsiteY61" fmla="*/ 3330111 h 6858000"/>
              <a:gd name="connsiteX62" fmla="*/ 2494590 w 12192000"/>
              <a:gd name="connsiteY62" fmla="*/ 3529029 h 6858000"/>
              <a:gd name="connsiteX63" fmla="*/ 2414677 w 12192000"/>
              <a:gd name="connsiteY63" fmla="*/ 3592215 h 6858000"/>
              <a:gd name="connsiteX64" fmla="*/ 2298940 w 12192000"/>
              <a:gd name="connsiteY64" fmla="*/ 3705716 h 6858000"/>
              <a:gd name="connsiteX65" fmla="*/ 2227294 w 12192000"/>
              <a:gd name="connsiteY65" fmla="*/ 3775921 h 6858000"/>
              <a:gd name="connsiteX66" fmla="*/ 1978366 w 12192000"/>
              <a:gd name="connsiteY66" fmla="*/ 3748620 h 6858000"/>
              <a:gd name="connsiteX67" fmla="*/ 2310421 w 12192000"/>
              <a:gd name="connsiteY67" fmla="*/ 3926868 h 6858000"/>
              <a:gd name="connsiteX68" fmla="*/ 2041285 w 12192000"/>
              <a:gd name="connsiteY68" fmla="*/ 3904635 h 6858000"/>
              <a:gd name="connsiteX69" fmla="*/ 1953565 w 12192000"/>
              <a:gd name="connsiteY69" fmla="*/ 3917116 h 6858000"/>
              <a:gd name="connsiteX70" fmla="*/ 2003623 w 12192000"/>
              <a:gd name="connsiteY70" fmla="*/ 3974842 h 6858000"/>
              <a:gd name="connsiteX71" fmla="*/ 2201114 w 12192000"/>
              <a:gd name="connsiteY71" fmla="*/ 4072742 h 6858000"/>
              <a:gd name="connsiteX72" fmla="*/ 2608032 w 12192000"/>
              <a:gd name="connsiteY72" fmla="*/ 4337967 h 6858000"/>
              <a:gd name="connsiteX73" fmla="*/ 2213973 w 12192000"/>
              <a:gd name="connsiteY73" fmla="*/ 4216277 h 6858000"/>
              <a:gd name="connsiteX74" fmla="*/ 2629158 w 12192000"/>
              <a:gd name="connsiteY74" fmla="*/ 4488911 h 6858000"/>
              <a:gd name="connsiteX75" fmla="*/ 2721471 w 12192000"/>
              <a:gd name="connsiteY75" fmla="*/ 4579399 h 6858000"/>
              <a:gd name="connsiteX76" fmla="*/ 2907939 w 12192000"/>
              <a:gd name="connsiteY76" fmla="*/ 4804062 h 6858000"/>
              <a:gd name="connsiteX77" fmla="*/ 2898753 w 12192000"/>
              <a:gd name="connsiteY77" fmla="*/ 4829414 h 6858000"/>
              <a:gd name="connsiteX78" fmla="*/ 2683352 w 12192000"/>
              <a:gd name="connsiteY78" fmla="*/ 4793141 h 6858000"/>
              <a:gd name="connsiteX79" fmla="*/ 2962594 w 12192000"/>
              <a:gd name="connsiteY79" fmla="*/ 4981920 h 6858000"/>
              <a:gd name="connsiteX80" fmla="*/ 3251019 w 12192000"/>
              <a:gd name="connsiteY80" fmla="*/ 5127012 h 6858000"/>
              <a:gd name="connsiteX81" fmla="*/ 3046180 w 12192000"/>
              <a:gd name="connsiteY81" fmla="*/ 5104781 h 6858000"/>
              <a:gd name="connsiteX82" fmla="*/ 2764646 w 12192000"/>
              <a:gd name="connsiteY82" fmla="*/ 5021703 h 6858000"/>
              <a:gd name="connsiteX83" fmla="*/ 2666820 w 12192000"/>
              <a:gd name="connsiteY83" fmla="*/ 5052905 h 6858000"/>
              <a:gd name="connsiteX84" fmla="*/ 2933657 w 12192000"/>
              <a:gd name="connsiteY84" fmla="*/ 5190198 h 6858000"/>
              <a:gd name="connsiteX85" fmla="*/ 3086598 w 12192000"/>
              <a:gd name="connsiteY85" fmla="*/ 5253776 h 6858000"/>
              <a:gd name="connsiteX86" fmla="*/ 3147680 w 12192000"/>
              <a:gd name="connsiteY86" fmla="*/ 5302531 h 6858000"/>
              <a:gd name="connsiteX87" fmla="*/ 3322204 w 12192000"/>
              <a:gd name="connsiteY87" fmla="*/ 5476487 h 6858000"/>
              <a:gd name="connsiteX88" fmla="*/ 3834758 w 12192000"/>
              <a:gd name="connsiteY88" fmla="*/ 5666434 h 6858000"/>
              <a:gd name="connsiteX89" fmla="*/ 4314240 w 12192000"/>
              <a:gd name="connsiteY89" fmla="*/ 5902409 h 6858000"/>
              <a:gd name="connsiteX90" fmla="*/ 4688552 w 12192000"/>
              <a:gd name="connsiteY90" fmla="*/ 6049453 h 6858000"/>
              <a:gd name="connsiteX91" fmla="*/ 5634660 w 12192000"/>
              <a:gd name="connsiteY91" fmla="*/ 6238620 h 6858000"/>
              <a:gd name="connsiteX92" fmla="*/ 9222980 w 12192000"/>
              <a:gd name="connsiteY92" fmla="*/ 4955397 h 6858000"/>
              <a:gd name="connsiteX93" fmla="*/ 9268448 w 12192000"/>
              <a:gd name="connsiteY93" fmla="*/ 4917173 h 6858000"/>
              <a:gd name="connsiteX94" fmla="*/ 9442512 w 12192000"/>
              <a:gd name="connsiteY94" fmla="*/ 4773251 h 6858000"/>
              <a:gd name="connsiteX95" fmla="*/ 9590400 w 12192000"/>
              <a:gd name="connsiteY95" fmla="*/ 4643756 h 6858000"/>
              <a:gd name="connsiteX96" fmla="*/ 9513242 w 12192000"/>
              <a:gd name="connsiteY96" fmla="*/ 4600073 h 6858000"/>
              <a:gd name="connsiteX97" fmla="*/ 9617498 w 12192000"/>
              <a:gd name="connsiteY97" fmla="*/ 4476430 h 6858000"/>
              <a:gd name="connsiteX98" fmla="*/ 9949094 w 12192000"/>
              <a:gd name="connsiteY98" fmla="*/ 4095364 h 6858000"/>
              <a:gd name="connsiteX99" fmla="*/ 10094686 w 12192000"/>
              <a:gd name="connsiteY99" fmla="*/ 4011507 h 6858000"/>
              <a:gd name="connsiteX100" fmla="*/ 10271967 w 12192000"/>
              <a:gd name="connsiteY100" fmla="*/ 3800497 h 6858000"/>
              <a:gd name="connsiteX101" fmla="*/ 10297226 w 12192000"/>
              <a:gd name="connsiteY101" fmla="*/ 3751742 h 6858000"/>
              <a:gd name="connsiteX102" fmla="*/ 10260943 w 12192000"/>
              <a:gd name="connsiteY102" fmla="*/ 3689723 h 6858000"/>
              <a:gd name="connsiteX103" fmla="*/ 10233847 w 12192000"/>
              <a:gd name="connsiteY103" fmla="*/ 3627319 h 6858000"/>
              <a:gd name="connsiteX104" fmla="*/ 10269209 w 12192000"/>
              <a:gd name="connsiteY104" fmla="*/ 3608986 h 6858000"/>
              <a:gd name="connsiteX105" fmla="*/ 10496550 w 12192000"/>
              <a:gd name="connsiteY105" fmla="*/ 3577393 h 6858000"/>
              <a:gd name="connsiteX106" fmla="*/ 10364738 w 12192000"/>
              <a:gd name="connsiteY106" fmla="*/ 3458823 h 6858000"/>
              <a:gd name="connsiteX107" fmla="*/ 10132346 w 12192000"/>
              <a:gd name="connsiteY107" fmla="*/ 3282137 h 6858000"/>
              <a:gd name="connsiteX108" fmla="*/ 10026712 w 12192000"/>
              <a:gd name="connsiteY108" fmla="*/ 3156543 h 6858000"/>
              <a:gd name="connsiteX109" fmla="*/ 10014312 w 12192000"/>
              <a:gd name="connsiteY109" fmla="*/ 3044213 h 6858000"/>
              <a:gd name="connsiteX110" fmla="*/ 9806718 w 12192000"/>
              <a:gd name="connsiteY110" fmla="*/ 2977907 h 6858000"/>
              <a:gd name="connsiteX111" fmla="*/ 10001912 w 12192000"/>
              <a:gd name="connsiteY111" fmla="*/ 2740374 h 6858000"/>
              <a:gd name="connsiteX112" fmla="*/ 10021662 w 12192000"/>
              <a:gd name="connsiteY112" fmla="*/ 2691231 h 6858000"/>
              <a:gd name="connsiteX113" fmla="*/ 9904546 w 12192000"/>
              <a:gd name="connsiteY113" fmla="*/ 2515322 h 6858000"/>
              <a:gd name="connsiteX114" fmla="*/ 9885256 w 12192000"/>
              <a:gd name="connsiteY114" fmla="*/ 2487240 h 6858000"/>
              <a:gd name="connsiteX115" fmla="*/ 9842085 w 12192000"/>
              <a:gd name="connsiteY115" fmla="*/ 2431074 h 6858000"/>
              <a:gd name="connsiteX116" fmla="*/ 9718078 w 12192000"/>
              <a:gd name="connsiteY116" fmla="*/ 2417424 h 6858000"/>
              <a:gd name="connsiteX117" fmla="*/ 9782378 w 12192000"/>
              <a:gd name="connsiteY117" fmla="*/ 2377641 h 6858000"/>
              <a:gd name="connsiteX118" fmla="*/ 9907302 w 12192000"/>
              <a:gd name="connsiteY118" fmla="*/ 2243078 h 6858000"/>
              <a:gd name="connsiteX119" fmla="*/ 9824171 w 12192000"/>
              <a:gd name="connsiteY119" fmla="*/ 2114365 h 6858000"/>
              <a:gd name="connsiteX120" fmla="*/ 9818662 w 12192000"/>
              <a:gd name="connsiteY120" fmla="*/ 2043377 h 6858000"/>
              <a:gd name="connsiteX121" fmla="*/ 9958740 w 12192000"/>
              <a:gd name="connsiteY121" fmla="*/ 1952499 h 6858000"/>
              <a:gd name="connsiteX122" fmla="*/ 10064374 w 12192000"/>
              <a:gd name="connsiteY122" fmla="*/ 1916615 h 6858000"/>
              <a:gd name="connsiteX123" fmla="*/ 10113055 w 12192000"/>
              <a:gd name="connsiteY123" fmla="*/ 1865131 h 6858000"/>
              <a:gd name="connsiteX124" fmla="*/ 10055646 w 12192000"/>
              <a:gd name="connsiteY124" fmla="*/ 1822227 h 6858000"/>
              <a:gd name="connsiteX125" fmla="*/ 9800748 w 12192000"/>
              <a:gd name="connsiteY125" fmla="*/ 1720036 h 6858000"/>
              <a:gd name="connsiteX126" fmla="*/ 9938071 w 12192000"/>
              <a:gd name="connsiteY126" fmla="*/ 1634617 h 6858000"/>
              <a:gd name="connsiteX127" fmla="*/ 9220224 w 12192000"/>
              <a:gd name="connsiteY127" fmla="*/ 1231709 h 6858000"/>
              <a:gd name="connsiteX128" fmla="*/ 9133419 w 12192000"/>
              <a:gd name="connsiteY128" fmla="*/ 1170083 h 6858000"/>
              <a:gd name="connsiteX129" fmla="*/ 8672768 w 12192000"/>
              <a:gd name="connsiteY129" fmla="*/ 1020699 h 6858000"/>
              <a:gd name="connsiteX130" fmla="*/ 8198797 w 12192000"/>
              <a:gd name="connsiteY130" fmla="*/ 915000 h 6858000"/>
              <a:gd name="connsiteX131" fmla="*/ 8528095 w 12192000"/>
              <a:gd name="connsiteY131" fmla="*/ 691898 h 6858000"/>
              <a:gd name="connsiteX132" fmla="*/ 8025190 w 12192000"/>
              <a:gd name="connsiteY132" fmla="*/ 640021 h 6858000"/>
              <a:gd name="connsiteX133" fmla="*/ 7976047 w 12192000"/>
              <a:gd name="connsiteY133" fmla="*/ 641584 h 6858000"/>
              <a:gd name="connsiteX134" fmla="*/ 6988604 w 12192000"/>
              <a:gd name="connsiteY134" fmla="*/ 607260 h 6858000"/>
              <a:gd name="connsiteX135" fmla="*/ 5573116 w 12192000"/>
              <a:gd name="connsiteY135" fmla="*/ 493368 h 6858000"/>
              <a:gd name="connsiteX136" fmla="*/ 4401503 w 12192000"/>
              <a:gd name="connsiteY136" fmla="*/ 425112 h 6858000"/>
              <a:gd name="connsiteX137" fmla="*/ 3154109 w 12192000"/>
              <a:gd name="connsiteY137" fmla="*/ 292499 h 6858000"/>
              <a:gd name="connsiteX138" fmla="*/ 3094406 w 12192000"/>
              <a:gd name="connsiteY138" fmla="*/ 283966 h 6858000"/>
              <a:gd name="connsiteX139" fmla="*/ 0 w 12192000"/>
              <a:gd name="connsiteY139" fmla="*/ 0 h 6858000"/>
              <a:gd name="connsiteX140" fmla="*/ 12192000 w 12192000"/>
              <a:gd name="connsiteY140" fmla="*/ 0 h 6858000"/>
              <a:gd name="connsiteX141" fmla="*/ 12192000 w 12192000"/>
              <a:gd name="connsiteY141" fmla="*/ 6858000 h 6858000"/>
              <a:gd name="connsiteX142" fmla="*/ 0 w 12192000"/>
              <a:gd name="connsiteY142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  <a:cxn ang="0">
                <a:pos x="connsiteX117" y="connsiteY117"/>
              </a:cxn>
              <a:cxn ang="0">
                <a:pos x="connsiteX118" y="connsiteY118"/>
              </a:cxn>
              <a:cxn ang="0">
                <a:pos x="connsiteX119" y="connsiteY119"/>
              </a:cxn>
              <a:cxn ang="0">
                <a:pos x="connsiteX120" y="connsiteY120"/>
              </a:cxn>
              <a:cxn ang="0">
                <a:pos x="connsiteX121" y="connsiteY121"/>
              </a:cxn>
              <a:cxn ang="0">
                <a:pos x="connsiteX122" y="connsiteY122"/>
              </a:cxn>
              <a:cxn ang="0">
                <a:pos x="connsiteX123" y="connsiteY123"/>
              </a:cxn>
              <a:cxn ang="0">
                <a:pos x="connsiteX124" y="connsiteY124"/>
              </a:cxn>
              <a:cxn ang="0">
                <a:pos x="connsiteX125" y="connsiteY125"/>
              </a:cxn>
              <a:cxn ang="0">
                <a:pos x="connsiteX126" y="connsiteY126"/>
              </a:cxn>
              <a:cxn ang="0">
                <a:pos x="connsiteX127" y="connsiteY127"/>
              </a:cxn>
              <a:cxn ang="0">
                <a:pos x="connsiteX128" y="connsiteY128"/>
              </a:cxn>
              <a:cxn ang="0">
                <a:pos x="connsiteX129" y="connsiteY129"/>
              </a:cxn>
              <a:cxn ang="0">
                <a:pos x="connsiteX130" y="connsiteY130"/>
              </a:cxn>
              <a:cxn ang="0">
                <a:pos x="connsiteX131" y="connsiteY131"/>
              </a:cxn>
              <a:cxn ang="0">
                <a:pos x="connsiteX132" y="connsiteY132"/>
              </a:cxn>
              <a:cxn ang="0">
                <a:pos x="connsiteX133" y="connsiteY133"/>
              </a:cxn>
              <a:cxn ang="0">
                <a:pos x="connsiteX134" y="connsiteY134"/>
              </a:cxn>
              <a:cxn ang="0">
                <a:pos x="connsiteX135" y="connsiteY135"/>
              </a:cxn>
              <a:cxn ang="0">
                <a:pos x="connsiteX136" y="connsiteY136"/>
              </a:cxn>
              <a:cxn ang="0">
                <a:pos x="connsiteX137" y="connsiteY137"/>
              </a:cxn>
              <a:cxn ang="0">
                <a:pos x="connsiteX138" y="connsiteY138"/>
              </a:cxn>
              <a:cxn ang="0">
                <a:pos x="connsiteX139" y="connsiteY139"/>
              </a:cxn>
              <a:cxn ang="0">
                <a:pos x="connsiteX140" y="connsiteY140"/>
              </a:cxn>
              <a:cxn ang="0">
                <a:pos x="connsiteX141" y="connsiteY141"/>
              </a:cxn>
              <a:cxn ang="0">
                <a:pos x="connsiteX142" y="connsiteY142"/>
              </a:cxn>
            </a:cxnLst>
            <a:rect l="l" t="t" r="r" b="b"/>
            <a:pathLst>
              <a:path w="12192000" h="6858000">
                <a:moveTo>
                  <a:pt x="3094406" y="283966"/>
                </a:moveTo>
                <a:cubicBezTo>
                  <a:pt x="3074312" y="283528"/>
                  <a:pt x="3054907" y="288795"/>
                  <a:pt x="3038833" y="309661"/>
                </a:cubicBezTo>
                <a:cubicBezTo>
                  <a:pt x="3124259" y="364657"/>
                  <a:pt x="3233105" y="343983"/>
                  <a:pt x="3348384" y="406000"/>
                </a:cubicBezTo>
                <a:cubicBezTo>
                  <a:pt x="3161001" y="386497"/>
                  <a:pt x="3012653" y="370896"/>
                  <a:pt x="2864309" y="355295"/>
                </a:cubicBezTo>
                <a:cubicBezTo>
                  <a:pt x="2861553" y="366216"/>
                  <a:pt x="2858796" y="377136"/>
                  <a:pt x="2856039" y="388058"/>
                </a:cubicBezTo>
                <a:cubicBezTo>
                  <a:pt x="3045722" y="411070"/>
                  <a:pt x="3221166" y="470356"/>
                  <a:pt x="3405794" y="512089"/>
                </a:cubicBezTo>
                <a:cubicBezTo>
                  <a:pt x="3388799" y="537835"/>
                  <a:pt x="3371808" y="532763"/>
                  <a:pt x="3356651" y="531204"/>
                </a:cubicBezTo>
                <a:cubicBezTo>
                  <a:pt x="3257907" y="521062"/>
                  <a:pt x="3159164" y="510922"/>
                  <a:pt x="3064552" y="483228"/>
                </a:cubicBezTo>
                <a:cubicBezTo>
                  <a:pt x="3043427" y="476987"/>
                  <a:pt x="3017704" y="476987"/>
                  <a:pt x="3005765" y="495708"/>
                </a:cubicBezTo>
                <a:cubicBezTo>
                  <a:pt x="2988771" y="522231"/>
                  <a:pt x="3013113" y="539393"/>
                  <a:pt x="3034700" y="553823"/>
                </a:cubicBezTo>
                <a:cubicBezTo>
                  <a:pt x="3072360" y="578787"/>
                  <a:pt x="3117827" y="571767"/>
                  <a:pt x="3161459" y="576445"/>
                </a:cubicBezTo>
                <a:cubicBezTo>
                  <a:pt x="3277655" y="588537"/>
                  <a:pt x="3333228" y="626370"/>
                  <a:pt x="3358949" y="712961"/>
                </a:cubicBezTo>
                <a:cubicBezTo>
                  <a:pt x="3256987" y="677857"/>
                  <a:pt x="3158703" y="721151"/>
                  <a:pt x="3059960" y="696576"/>
                </a:cubicBezTo>
                <a:cubicBezTo>
                  <a:pt x="3034240" y="690338"/>
                  <a:pt x="2993364" y="699698"/>
                  <a:pt x="3007143" y="729732"/>
                </a:cubicBezTo>
                <a:cubicBezTo>
                  <a:pt x="3020003" y="757814"/>
                  <a:pt x="3062716" y="778096"/>
                  <a:pt x="2986935" y="772635"/>
                </a:cubicBezTo>
                <a:cubicBezTo>
                  <a:pt x="2932740" y="768735"/>
                  <a:pt x="2826647" y="800329"/>
                  <a:pt x="2871197" y="808127"/>
                </a:cubicBezTo>
                <a:cubicBezTo>
                  <a:pt x="2927228" y="817881"/>
                  <a:pt x="2981883" y="831921"/>
                  <a:pt x="3053071" y="847913"/>
                </a:cubicBezTo>
                <a:cubicBezTo>
                  <a:pt x="2974533" y="874043"/>
                  <a:pt x="2918042" y="868584"/>
                  <a:pt x="2858796" y="847913"/>
                </a:cubicBezTo>
                <a:cubicBezTo>
                  <a:pt x="2787150" y="822949"/>
                  <a:pt x="2693916" y="792528"/>
                  <a:pt x="2635588" y="820611"/>
                </a:cubicBezTo>
                <a:cubicBezTo>
                  <a:pt x="2548326" y="862734"/>
                  <a:pt x="2475760" y="836211"/>
                  <a:pt x="2397683" y="829190"/>
                </a:cubicBezTo>
                <a:cubicBezTo>
                  <a:pt x="2238775" y="814759"/>
                  <a:pt x="2081241" y="790576"/>
                  <a:pt x="1921874" y="778877"/>
                </a:cubicBezTo>
                <a:cubicBezTo>
                  <a:pt x="1858036" y="774195"/>
                  <a:pt x="1789143" y="751964"/>
                  <a:pt x="1695450" y="782386"/>
                </a:cubicBezTo>
                <a:cubicBezTo>
                  <a:pt x="2119822" y="938012"/>
                  <a:pt x="2575423" y="928262"/>
                  <a:pt x="2954324" y="1120940"/>
                </a:cubicBezTo>
                <a:cubicBezTo>
                  <a:pt x="2938251" y="1139269"/>
                  <a:pt x="2856502" y="1191535"/>
                  <a:pt x="2890028" y="1195435"/>
                </a:cubicBezTo>
                <a:cubicBezTo>
                  <a:pt x="2984178" y="1206748"/>
                  <a:pt x="3067767" y="1244971"/>
                  <a:pt x="3153652" y="1276563"/>
                </a:cubicBezTo>
                <a:cubicBezTo>
                  <a:pt x="3190855" y="1290216"/>
                  <a:pt x="3235862" y="1308157"/>
                  <a:pt x="3218410" y="1356911"/>
                </a:cubicBezTo>
                <a:cubicBezTo>
                  <a:pt x="3186719" y="1370562"/>
                  <a:pt x="3163296" y="1351451"/>
                  <a:pt x="3137118" y="1349891"/>
                </a:cubicBezTo>
                <a:cubicBezTo>
                  <a:pt x="3110480" y="1348331"/>
                  <a:pt x="3050773" y="1358471"/>
                  <a:pt x="3067309" y="1365102"/>
                </a:cubicBezTo>
                <a:cubicBezTo>
                  <a:pt x="3142629" y="1395136"/>
                  <a:pt x="3007143" y="1467292"/>
                  <a:pt x="3096243" y="1467292"/>
                </a:cubicBezTo>
                <a:cubicBezTo>
                  <a:pt x="3245506" y="1467681"/>
                  <a:pt x="3324961" y="1595613"/>
                  <a:pt x="3468716" y="1599125"/>
                </a:cubicBezTo>
                <a:cubicBezTo>
                  <a:pt x="3491677" y="1599513"/>
                  <a:pt x="3502700" y="1622137"/>
                  <a:pt x="3502241" y="1642029"/>
                </a:cubicBezTo>
                <a:cubicBezTo>
                  <a:pt x="3502241" y="1665822"/>
                  <a:pt x="3481116" y="1670112"/>
                  <a:pt x="3457692" y="1672453"/>
                </a:cubicBezTo>
                <a:cubicBezTo>
                  <a:pt x="3421868" y="1675962"/>
                  <a:pt x="3384667" y="1642029"/>
                  <a:pt x="3337362" y="1688053"/>
                </a:cubicBezTo>
                <a:cubicBezTo>
                  <a:pt x="3422329" y="1714966"/>
                  <a:pt x="3507294" y="1741878"/>
                  <a:pt x="3505915" y="1834318"/>
                </a:cubicBezTo>
                <a:cubicBezTo>
                  <a:pt x="3505457" y="1859279"/>
                  <a:pt x="3540820" y="1868640"/>
                  <a:pt x="3567458" y="1874880"/>
                </a:cubicBezTo>
                <a:cubicBezTo>
                  <a:pt x="3611549" y="1885023"/>
                  <a:pt x="3648750" y="1902965"/>
                  <a:pt x="3672634" y="1937678"/>
                </a:cubicBezTo>
                <a:cubicBezTo>
                  <a:pt x="3672172" y="1944308"/>
                  <a:pt x="3671715" y="1951329"/>
                  <a:pt x="3674470" y="1956789"/>
                </a:cubicBezTo>
                <a:cubicBezTo>
                  <a:pt x="3666664" y="2040646"/>
                  <a:pt x="3602363" y="2038306"/>
                  <a:pt x="3531176" y="2024266"/>
                </a:cubicBezTo>
                <a:cubicBezTo>
                  <a:pt x="3446211" y="2007103"/>
                  <a:pt x="3362164" y="1975900"/>
                  <a:pt x="3272604" y="2005933"/>
                </a:cubicBezTo>
                <a:cubicBezTo>
                  <a:pt x="3398905" y="2046107"/>
                  <a:pt x="3536229" y="2049228"/>
                  <a:pt x="3654720" y="2106564"/>
                </a:cubicBezTo>
                <a:cubicBezTo>
                  <a:pt x="3221166" y="2117095"/>
                  <a:pt x="2838130" y="1936116"/>
                  <a:pt x="2417892" y="1866690"/>
                </a:cubicBezTo>
                <a:cubicBezTo>
                  <a:pt x="2432130" y="1913105"/>
                  <a:pt x="2466114" y="1922465"/>
                  <a:pt x="2496888" y="1929487"/>
                </a:cubicBezTo>
                <a:cubicBezTo>
                  <a:pt x="2652123" y="1964590"/>
                  <a:pt x="2788067" y="2034408"/>
                  <a:pt x="2929526" y="2094862"/>
                </a:cubicBezTo>
                <a:cubicBezTo>
                  <a:pt x="2987851" y="2119825"/>
                  <a:pt x="3030106" y="2144789"/>
                  <a:pt x="3052152" y="2198613"/>
                </a:cubicBezTo>
                <a:cubicBezTo>
                  <a:pt x="3071903" y="2247367"/>
                  <a:pt x="3110021" y="2269990"/>
                  <a:pt x="3180748" y="2255948"/>
                </a:cubicBezTo>
                <a:cubicBezTo>
                  <a:pt x="3238157" y="2244246"/>
                  <a:pt x="3301078" y="2250487"/>
                  <a:pt x="3361244" y="2254777"/>
                </a:cubicBezTo>
                <a:cubicBezTo>
                  <a:pt x="3430596" y="2259459"/>
                  <a:pt x="3508213" y="2314455"/>
                  <a:pt x="3489382" y="2342926"/>
                </a:cubicBezTo>
                <a:cubicBezTo>
                  <a:pt x="3457233" y="2391292"/>
                  <a:pt x="3403498" y="2367110"/>
                  <a:pt x="3355733" y="2361649"/>
                </a:cubicBezTo>
                <a:cubicBezTo>
                  <a:pt x="3301537" y="2355018"/>
                  <a:pt x="3200957" y="2341367"/>
                  <a:pt x="3199121" y="2347216"/>
                </a:cubicBezTo>
                <a:cubicBezTo>
                  <a:pt x="3163754" y="2468518"/>
                  <a:pt x="2914827" y="2362819"/>
                  <a:pt x="2861091" y="2351896"/>
                </a:cubicBezTo>
                <a:cubicBezTo>
                  <a:pt x="2794038" y="2338245"/>
                  <a:pt x="2731116" y="2363208"/>
                  <a:pt x="2667278" y="2369058"/>
                </a:cubicBezTo>
                <a:cubicBezTo>
                  <a:pt x="2610328" y="2374518"/>
                  <a:pt x="2288376" y="2391292"/>
                  <a:pt x="2221781" y="2339805"/>
                </a:cubicBezTo>
                <a:cubicBezTo>
                  <a:pt x="2212595" y="2379978"/>
                  <a:pt x="2231884" y="2396361"/>
                  <a:pt x="2247961" y="2414693"/>
                </a:cubicBezTo>
                <a:cubicBezTo>
                  <a:pt x="2270465" y="2440824"/>
                  <a:pt x="2274138" y="2459157"/>
                  <a:pt x="2231425" y="2479828"/>
                </a:cubicBezTo>
                <a:cubicBezTo>
                  <a:pt x="2109717" y="2539115"/>
                  <a:pt x="2111557" y="2541065"/>
                  <a:pt x="2224996" y="2621414"/>
                </a:cubicBezTo>
                <a:cubicBezTo>
                  <a:pt x="2230509" y="2624923"/>
                  <a:pt x="2228211" y="2636624"/>
                  <a:pt x="2229131" y="2644426"/>
                </a:cubicBezTo>
                <a:cubicBezTo>
                  <a:pt x="2199276" y="2656906"/>
                  <a:pt x="2164373" y="2625703"/>
                  <a:pt x="2129466" y="2659247"/>
                </a:cubicBezTo>
                <a:cubicBezTo>
                  <a:pt x="2281487" y="2806680"/>
                  <a:pt x="2513421" y="2842953"/>
                  <a:pt x="2723312" y="2953726"/>
                </a:cubicBezTo>
                <a:cubicBezTo>
                  <a:pt x="2553377" y="2990389"/>
                  <a:pt x="2451419" y="2862456"/>
                  <a:pt x="2326496" y="2878838"/>
                </a:cubicBezTo>
                <a:cubicBezTo>
                  <a:pt x="2264036" y="2919012"/>
                  <a:pt x="2449582" y="2983367"/>
                  <a:pt x="2272759" y="3002480"/>
                </a:cubicBezTo>
                <a:cubicBezTo>
                  <a:pt x="2349461" y="3037583"/>
                  <a:pt x="2406411" y="3071905"/>
                  <a:pt x="2459226" y="3112471"/>
                </a:cubicBezTo>
                <a:cubicBezTo>
                  <a:pt x="2553377" y="3185016"/>
                  <a:pt x="2571749" y="3232602"/>
                  <a:pt x="2528117" y="3330111"/>
                </a:cubicBezTo>
                <a:cubicBezTo>
                  <a:pt x="2499642" y="3394076"/>
                  <a:pt x="2457848" y="3452973"/>
                  <a:pt x="2494590" y="3529029"/>
                </a:cubicBezTo>
                <a:cubicBezTo>
                  <a:pt x="2520308" y="3581294"/>
                  <a:pt x="2510206" y="3615617"/>
                  <a:pt x="2414677" y="3592215"/>
                </a:cubicBezTo>
                <a:cubicBezTo>
                  <a:pt x="2311799" y="3567251"/>
                  <a:pt x="2273221" y="3614057"/>
                  <a:pt x="2298940" y="3705716"/>
                </a:cubicBezTo>
                <a:cubicBezTo>
                  <a:pt x="2315473" y="3764612"/>
                  <a:pt x="2298020" y="3782553"/>
                  <a:pt x="2227294" y="3775921"/>
                </a:cubicBezTo>
                <a:cubicBezTo>
                  <a:pt x="2149215" y="3768512"/>
                  <a:pt x="2074811" y="3729898"/>
                  <a:pt x="1978366" y="3748620"/>
                </a:cubicBezTo>
                <a:cubicBezTo>
                  <a:pt x="2055522" y="3855492"/>
                  <a:pt x="2220403" y="3825068"/>
                  <a:pt x="2310421" y="3926868"/>
                </a:cubicBezTo>
                <a:cubicBezTo>
                  <a:pt x="2202950" y="3927259"/>
                  <a:pt x="2120739" y="3926868"/>
                  <a:pt x="2041285" y="3904635"/>
                </a:cubicBezTo>
                <a:cubicBezTo>
                  <a:pt x="2008216" y="3895664"/>
                  <a:pt x="1971934" y="3886305"/>
                  <a:pt x="1953565" y="3917116"/>
                </a:cubicBezTo>
                <a:cubicBezTo>
                  <a:pt x="1931978" y="3954170"/>
                  <a:pt x="1976527" y="3968211"/>
                  <a:pt x="2003623" y="3974842"/>
                </a:cubicBezTo>
                <a:cubicBezTo>
                  <a:pt x="2079866" y="3993563"/>
                  <a:pt x="2138192" y="4038028"/>
                  <a:pt x="2201114" y="4072742"/>
                </a:cubicBezTo>
                <a:cubicBezTo>
                  <a:pt x="2339356" y="4148800"/>
                  <a:pt x="2490917" y="4212375"/>
                  <a:pt x="2608032" y="4337967"/>
                </a:cubicBezTo>
                <a:cubicBezTo>
                  <a:pt x="2460606" y="4305983"/>
                  <a:pt x="2350838" y="4231487"/>
                  <a:pt x="2213973" y="4216277"/>
                </a:cubicBezTo>
                <a:cubicBezTo>
                  <a:pt x="2332467" y="4330557"/>
                  <a:pt x="2484945" y="4405834"/>
                  <a:pt x="2629158" y="4488911"/>
                </a:cubicBezTo>
                <a:cubicBezTo>
                  <a:pt x="2670494" y="4512315"/>
                  <a:pt x="2712289" y="4528306"/>
                  <a:pt x="2721471" y="4579399"/>
                </a:cubicBezTo>
                <a:cubicBezTo>
                  <a:pt x="2739385" y="4678470"/>
                  <a:pt x="2793121" y="4760378"/>
                  <a:pt x="2907939" y="4804062"/>
                </a:cubicBezTo>
                <a:cubicBezTo>
                  <a:pt x="2908859" y="4804452"/>
                  <a:pt x="2902428" y="4819274"/>
                  <a:pt x="2898753" y="4829414"/>
                </a:cubicBezTo>
                <a:cubicBezTo>
                  <a:pt x="2828485" y="4832536"/>
                  <a:pt x="2772912" y="4774028"/>
                  <a:pt x="2683352" y="4793141"/>
                </a:cubicBezTo>
                <a:cubicBezTo>
                  <a:pt x="2769239" y="4872708"/>
                  <a:pt x="2840885" y="4944087"/>
                  <a:pt x="2962594" y="4981920"/>
                </a:cubicBezTo>
                <a:cubicBezTo>
                  <a:pt x="3059960" y="5011952"/>
                  <a:pt x="3180289" y="5029503"/>
                  <a:pt x="3251019" y="5127012"/>
                </a:cubicBezTo>
                <a:cubicBezTo>
                  <a:pt x="3168808" y="5146126"/>
                  <a:pt x="3107723" y="5121944"/>
                  <a:pt x="3046180" y="5104781"/>
                </a:cubicBezTo>
                <a:cubicBezTo>
                  <a:pt x="2952030" y="5078258"/>
                  <a:pt x="2858796" y="5048226"/>
                  <a:pt x="2764646" y="5021703"/>
                </a:cubicBezTo>
                <a:cubicBezTo>
                  <a:pt x="2728821" y="5011563"/>
                  <a:pt x="2689782" y="5004540"/>
                  <a:pt x="2666820" y="5052905"/>
                </a:cubicBezTo>
                <a:cubicBezTo>
                  <a:pt x="2786691" y="5063047"/>
                  <a:pt x="2858337" y="5128575"/>
                  <a:pt x="2933657" y="5190198"/>
                </a:cubicBezTo>
                <a:cubicBezTo>
                  <a:pt x="2975911" y="5224912"/>
                  <a:pt x="3010358" y="5271328"/>
                  <a:pt x="3086598" y="5253776"/>
                </a:cubicBezTo>
                <a:cubicBezTo>
                  <a:pt x="3126554" y="5244415"/>
                  <a:pt x="3151814" y="5270547"/>
                  <a:pt x="3147680" y="5302531"/>
                </a:cubicBezTo>
                <a:cubicBezTo>
                  <a:pt x="3132525" y="5415251"/>
                  <a:pt x="3225759" y="5454645"/>
                  <a:pt x="3322204" y="5476487"/>
                </a:cubicBezTo>
                <a:cubicBezTo>
                  <a:pt x="3504998" y="5517440"/>
                  <a:pt x="3657018" y="5613779"/>
                  <a:pt x="3834758" y="5666434"/>
                </a:cubicBezTo>
                <a:cubicBezTo>
                  <a:pt x="4007445" y="5717529"/>
                  <a:pt x="4141095" y="5838830"/>
                  <a:pt x="4314240" y="5902409"/>
                </a:cubicBezTo>
                <a:cubicBezTo>
                  <a:pt x="4439624" y="5948433"/>
                  <a:pt x="4559494" y="6007718"/>
                  <a:pt x="4688552" y="6049453"/>
                </a:cubicBezTo>
                <a:cubicBezTo>
                  <a:pt x="4993968" y="6148131"/>
                  <a:pt x="5305360" y="6227308"/>
                  <a:pt x="5634660" y="6238620"/>
                </a:cubicBezTo>
                <a:cubicBezTo>
                  <a:pt x="5906549" y="6247590"/>
                  <a:pt x="8264931" y="6239010"/>
                  <a:pt x="9222980" y="4955397"/>
                </a:cubicBezTo>
                <a:cubicBezTo>
                  <a:pt x="9241350" y="4949155"/>
                  <a:pt x="9262017" y="4932775"/>
                  <a:pt x="9268448" y="4917173"/>
                </a:cubicBezTo>
                <a:cubicBezTo>
                  <a:pt x="9299220" y="4844235"/>
                  <a:pt x="9374540" y="4812644"/>
                  <a:pt x="9442512" y="4773251"/>
                </a:cubicBezTo>
                <a:cubicBezTo>
                  <a:pt x="9502220" y="4738536"/>
                  <a:pt x="9565600" y="4702263"/>
                  <a:pt x="9590400" y="4643756"/>
                </a:cubicBezTo>
                <a:cubicBezTo>
                  <a:pt x="9623008" y="4565749"/>
                  <a:pt x="9530236" y="4629716"/>
                  <a:pt x="9513242" y="4600073"/>
                </a:cubicBezTo>
                <a:cubicBezTo>
                  <a:pt x="9548605" y="4559509"/>
                  <a:pt x="9603261" y="4522454"/>
                  <a:pt x="9617498" y="4476430"/>
                </a:cubicBezTo>
                <a:cubicBezTo>
                  <a:pt x="9669394" y="4310276"/>
                  <a:pt x="9781460" y="4189364"/>
                  <a:pt x="9949094" y="4095364"/>
                </a:cubicBezTo>
                <a:cubicBezTo>
                  <a:pt x="9997318" y="4068452"/>
                  <a:pt x="10029007" y="4019306"/>
                  <a:pt x="10094686" y="4011507"/>
                </a:cubicBezTo>
                <a:cubicBezTo>
                  <a:pt x="10240735" y="3994345"/>
                  <a:pt x="10194808" y="3860171"/>
                  <a:pt x="10271967" y="3800497"/>
                </a:cubicBezTo>
                <a:cubicBezTo>
                  <a:pt x="10286662" y="3789184"/>
                  <a:pt x="10299980" y="3766953"/>
                  <a:pt x="10297226" y="3751742"/>
                </a:cubicBezTo>
                <a:cubicBezTo>
                  <a:pt x="10293091" y="3729898"/>
                  <a:pt x="10275639" y="3709227"/>
                  <a:pt x="10260943" y="3689723"/>
                </a:cubicBezTo>
                <a:cubicBezTo>
                  <a:pt x="10245786" y="3670222"/>
                  <a:pt x="10222825" y="3653061"/>
                  <a:pt x="10233847" y="3627319"/>
                </a:cubicBezTo>
                <a:cubicBezTo>
                  <a:pt x="10238437" y="3616788"/>
                  <a:pt x="10235225" y="3580125"/>
                  <a:pt x="10269209" y="3608986"/>
                </a:cubicBezTo>
                <a:cubicBezTo>
                  <a:pt x="10362443" y="3688165"/>
                  <a:pt x="10416637" y="3613279"/>
                  <a:pt x="10496550" y="3577393"/>
                </a:cubicBezTo>
                <a:cubicBezTo>
                  <a:pt x="10432253" y="3540340"/>
                  <a:pt x="10374383" y="3514208"/>
                  <a:pt x="10364738" y="3458823"/>
                </a:cubicBezTo>
                <a:cubicBezTo>
                  <a:pt x="10344991" y="3344542"/>
                  <a:pt x="10260485" y="3292277"/>
                  <a:pt x="10132346" y="3282137"/>
                </a:cubicBezTo>
                <a:cubicBezTo>
                  <a:pt x="10179650" y="3171757"/>
                  <a:pt x="10179650" y="3171757"/>
                  <a:pt x="10026712" y="3156543"/>
                </a:cubicBezTo>
                <a:cubicBezTo>
                  <a:pt x="10085499" y="3086337"/>
                  <a:pt x="10085499" y="3068396"/>
                  <a:pt x="10014312" y="3044213"/>
                </a:cubicBezTo>
                <a:cubicBezTo>
                  <a:pt x="9945880" y="3021201"/>
                  <a:pt x="9870100" y="3013401"/>
                  <a:pt x="9806718" y="2977907"/>
                </a:cubicBezTo>
                <a:cubicBezTo>
                  <a:pt x="9865047" y="2888199"/>
                  <a:pt x="9881580" y="2784060"/>
                  <a:pt x="10001912" y="2740374"/>
                </a:cubicBezTo>
                <a:cubicBezTo>
                  <a:pt x="10020741" y="2733743"/>
                  <a:pt x="10033600" y="2706830"/>
                  <a:pt x="10021662" y="2691231"/>
                </a:cubicBezTo>
                <a:cubicBezTo>
                  <a:pt x="9978030" y="2634675"/>
                  <a:pt x="10040492" y="2527414"/>
                  <a:pt x="9904546" y="2515322"/>
                </a:cubicBezTo>
                <a:cubicBezTo>
                  <a:pt x="9887552" y="2514152"/>
                  <a:pt x="9871936" y="2502450"/>
                  <a:pt x="9885256" y="2487240"/>
                </a:cubicBezTo>
                <a:cubicBezTo>
                  <a:pt x="9931184" y="2434196"/>
                  <a:pt x="9875611" y="2437706"/>
                  <a:pt x="9842085" y="2431074"/>
                </a:cubicBezTo>
                <a:cubicBezTo>
                  <a:pt x="9801668" y="2422884"/>
                  <a:pt x="9755740" y="2446287"/>
                  <a:pt x="9718078" y="2417424"/>
                </a:cubicBezTo>
                <a:cubicBezTo>
                  <a:pt x="9726806" y="2386999"/>
                  <a:pt x="9759413" y="2387390"/>
                  <a:pt x="9782378" y="2377641"/>
                </a:cubicBezTo>
                <a:cubicBezTo>
                  <a:pt x="9849430" y="2349558"/>
                  <a:pt x="9904086" y="2316013"/>
                  <a:pt x="9907302" y="2243078"/>
                </a:cubicBezTo>
                <a:cubicBezTo>
                  <a:pt x="9909596" y="2184182"/>
                  <a:pt x="9916946" y="2132305"/>
                  <a:pt x="9824171" y="2114365"/>
                </a:cubicBezTo>
                <a:cubicBezTo>
                  <a:pt x="9785593" y="2106953"/>
                  <a:pt x="9796616" y="2064440"/>
                  <a:pt x="9818662" y="2043377"/>
                </a:cubicBezTo>
                <a:cubicBezTo>
                  <a:pt x="9858160" y="2005933"/>
                  <a:pt x="9890766" y="1956008"/>
                  <a:pt x="9958740" y="1952499"/>
                </a:cubicBezTo>
                <a:cubicBezTo>
                  <a:pt x="10000075" y="1950158"/>
                  <a:pt x="10031764" y="1934556"/>
                  <a:pt x="10064374" y="1916615"/>
                </a:cubicBezTo>
                <a:cubicBezTo>
                  <a:pt x="10087795" y="1903743"/>
                  <a:pt x="10115810" y="1892823"/>
                  <a:pt x="10113055" y="1865131"/>
                </a:cubicBezTo>
                <a:cubicBezTo>
                  <a:pt x="10110302" y="1838607"/>
                  <a:pt x="10083203" y="1827686"/>
                  <a:pt x="10055646" y="1822227"/>
                </a:cubicBezTo>
                <a:cubicBezTo>
                  <a:pt x="9963792" y="1804675"/>
                  <a:pt x="9877448" y="1778933"/>
                  <a:pt x="9800748" y="1720036"/>
                </a:cubicBezTo>
                <a:cubicBezTo>
                  <a:pt x="9851726" y="1688834"/>
                  <a:pt x="9900410" y="1666211"/>
                  <a:pt x="9938071" y="1634617"/>
                </a:cubicBezTo>
                <a:cubicBezTo>
                  <a:pt x="10029007" y="1558172"/>
                  <a:pt x="9258802" y="1317517"/>
                  <a:pt x="9220224" y="1231709"/>
                </a:cubicBezTo>
                <a:cubicBezTo>
                  <a:pt x="9208284" y="1205187"/>
                  <a:pt x="9167410" y="1177883"/>
                  <a:pt x="9133419" y="1170083"/>
                </a:cubicBezTo>
                <a:cubicBezTo>
                  <a:pt x="8974052" y="1133420"/>
                  <a:pt x="8835810" y="1051123"/>
                  <a:pt x="8672768" y="1020699"/>
                </a:cubicBezTo>
                <a:cubicBezTo>
                  <a:pt x="8518912" y="991837"/>
                  <a:pt x="8367350" y="953222"/>
                  <a:pt x="8198797" y="915000"/>
                </a:cubicBezTo>
                <a:cubicBezTo>
                  <a:pt x="8302134" y="819048"/>
                  <a:pt x="8485382" y="830361"/>
                  <a:pt x="8528095" y="691898"/>
                </a:cubicBezTo>
                <a:cubicBezTo>
                  <a:pt x="8361379" y="656013"/>
                  <a:pt x="8185937" y="696968"/>
                  <a:pt x="8025190" y="640021"/>
                </a:cubicBezTo>
                <a:cubicBezTo>
                  <a:pt x="8011411" y="634954"/>
                  <a:pt x="7992579" y="640021"/>
                  <a:pt x="7976047" y="641584"/>
                </a:cubicBezTo>
                <a:cubicBezTo>
                  <a:pt x="7644909" y="672005"/>
                  <a:pt x="7315149" y="645484"/>
                  <a:pt x="6988604" y="607260"/>
                </a:cubicBezTo>
                <a:cubicBezTo>
                  <a:pt x="6518305" y="552656"/>
                  <a:pt x="6046170" y="517941"/>
                  <a:pt x="5573116" y="493368"/>
                </a:cubicBezTo>
                <a:cubicBezTo>
                  <a:pt x="5182272" y="473086"/>
                  <a:pt x="4790511" y="464116"/>
                  <a:pt x="4401503" y="425112"/>
                </a:cubicBezTo>
                <a:cubicBezTo>
                  <a:pt x="3985401" y="383379"/>
                  <a:pt x="3569756" y="336184"/>
                  <a:pt x="3154109" y="292499"/>
                </a:cubicBezTo>
                <a:cubicBezTo>
                  <a:pt x="3135280" y="290549"/>
                  <a:pt x="3114499" y="284406"/>
                  <a:pt x="3094406" y="283966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2">
              <a:alpha val="50000"/>
            </a:schemeClr>
          </a:solidFill>
          <a:ln w="32707" cap="flat">
            <a:noFill/>
            <a:prstDash val="solid"/>
            <a:miter/>
          </a:ln>
        </p:spPr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pic>
        <p:nvPicPr>
          <p:cNvPr id="4" name="Content Placeholder 3">
            <a:extLst>
              <a:ext uri="{FF2B5EF4-FFF2-40B4-BE49-F238E27FC236}">
                <a16:creationId xmlns:a16="http://schemas.microsoft.com/office/drawing/2014/main" id="{574A02B7-247D-425E-8EC1-101C085D075E}"/>
              </a:ext>
            </a:extLst>
          </p:cNvPr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4017481" y="1201003"/>
            <a:ext cx="4417481" cy="4107976"/>
          </a:xfrm>
          <a:prstGeom prst="rect">
            <a:avLst/>
          </a:prstGeom>
          <a:solidFill>
            <a:schemeClr val="bg1"/>
          </a:solidFill>
        </p:spPr>
      </p:pic>
    </p:spTree>
    <p:extLst>
      <p:ext uri="{BB962C8B-B14F-4D97-AF65-F5344CB8AC3E}">
        <p14:creationId xmlns:p14="http://schemas.microsoft.com/office/powerpoint/2010/main" val="9865066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48037</TotalTime>
  <Words>979</Words>
  <Application>Microsoft Office PowerPoint</Application>
  <PresentationFormat>Widescreen</PresentationFormat>
  <Paragraphs>307</Paragraphs>
  <Slides>32</Slides>
  <Notes>3</Notes>
  <HiddenSlides>0</HiddenSlides>
  <MMClips>1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2</vt:i4>
      </vt:variant>
    </vt:vector>
  </HeadingPairs>
  <TitlesOfParts>
    <vt:vector size="37" baseType="lpstr">
      <vt:lpstr>Arial</vt:lpstr>
      <vt:lpstr>Calibri</vt:lpstr>
      <vt:lpstr>Calibri Light</vt:lpstr>
      <vt:lpstr>Office Theme</vt:lpstr>
      <vt:lpstr>think-cell Slide</vt:lpstr>
      <vt:lpstr>Personalised Cancer Vaccines </vt:lpstr>
      <vt:lpstr>Declaration</vt:lpstr>
      <vt:lpstr>Autogene Cevuramen - an individualized mRNA cancer vaccine</vt:lpstr>
      <vt:lpstr>Innate Immune Stimulation and Neoantigen Presentation </vt:lpstr>
      <vt:lpstr>PowerPoint Presentation</vt:lpstr>
      <vt:lpstr>Vaccines trigger an immune response  in half</vt:lpstr>
      <vt:lpstr>Impact of vaccine on survival</vt:lpstr>
      <vt:lpstr>Vaccine clones &amp; micrometastases</vt:lpstr>
      <vt:lpstr>PowerPoint Presentation</vt:lpstr>
      <vt:lpstr>Q - Can we improve DFS for ctDNA positive CRC patients by adding vaccine to standard chemotherapy?  </vt:lpstr>
      <vt:lpstr>Where are the patients?</vt:lpstr>
      <vt:lpstr>How can we recruit the patients we know are out there?</vt:lpstr>
      <vt:lpstr>  Optimising models for recruitment</vt:lpstr>
      <vt:lpstr>Model 1: Hub &amp; Spoke</vt:lpstr>
      <vt:lpstr>Model 2 –PIC Plus</vt:lpstr>
      <vt:lpstr>PowerPoint Presentation</vt:lpstr>
      <vt:lpstr>PowerPoint Presentation</vt:lpstr>
      <vt:lpstr>Model 4 – Mobile Capacity</vt:lpstr>
      <vt:lpstr>Model 4 – Mobile Capacity</vt:lpstr>
      <vt:lpstr>Model 4 – Mobile Capacity</vt:lpstr>
      <vt:lpstr>Increasing efficiency in screen heavy trials</vt:lpstr>
      <vt:lpstr>All the burden on the local PI = single point of failure</vt:lpstr>
      <vt:lpstr>Focus PI activity on PI skillsets</vt:lpstr>
      <vt:lpstr>Devolved activity - use surgeons to identify patients</vt:lpstr>
      <vt:lpstr>Devolved activity - use surgeons to introduce trial</vt:lpstr>
      <vt:lpstr>Focus PI Activity on PI Skillset</vt:lpstr>
      <vt:lpstr>e-PIS to drive screening</vt:lpstr>
      <vt:lpstr>Devolving recruitment from the hub</vt:lpstr>
      <vt:lpstr>PowerPoint Presentation</vt:lpstr>
      <vt:lpstr>Does it work?</vt:lpstr>
      <vt:lpstr>In summary</vt:lpstr>
      <vt:lpstr>Thankyou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urrent BNT-122 Recruitment Funnel</dc:title>
  <dc:creator>Jones, Robert [robjones]</dc:creator>
  <cp:lastModifiedBy>Helen Dunderdale</cp:lastModifiedBy>
  <cp:revision>48</cp:revision>
  <dcterms:created xsi:type="dcterms:W3CDTF">2023-03-27T20:35:56Z</dcterms:created>
  <dcterms:modified xsi:type="dcterms:W3CDTF">2024-02-19T12:07:06Z</dcterms:modified>
</cp:coreProperties>
</file>